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146846896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6702C5-182E-4278-A508-274C88809CE1}" v="25" dt="2023-11-20T22:52:59.537"/>
    <p1510:client id="{AC274273-5497-4C6B-BB53-08105B308E4F}" v="3" dt="2023-11-20T21:50:11.92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wais Salman" userId="0bd7bc98ed6624ef" providerId="LiveId" clId="{C7F1C471-7A40-4BD0-A405-8BAD350F7CCE}"/>
    <pc:docChg chg="custSel modSld">
      <pc:chgData name="Awais Salman" userId="0bd7bc98ed6624ef" providerId="LiveId" clId="{C7F1C471-7A40-4BD0-A405-8BAD350F7CCE}" dt="2023-11-20T16:26:18.569" v="45" actId="20577"/>
      <pc:docMkLst>
        <pc:docMk/>
      </pc:docMkLst>
      <pc:sldChg chg="delSp modSp mod">
        <pc:chgData name="Awais Salman" userId="0bd7bc98ed6624ef" providerId="LiveId" clId="{C7F1C471-7A40-4BD0-A405-8BAD350F7CCE}" dt="2023-11-20T16:26:18.569" v="45" actId="20577"/>
        <pc:sldMkLst>
          <pc:docMk/>
          <pc:sldMk cId="317514304" sldId="2146846898"/>
        </pc:sldMkLst>
        <pc:spChg chg="mod">
          <ac:chgData name="Awais Salman" userId="0bd7bc98ed6624ef" providerId="LiveId" clId="{C7F1C471-7A40-4BD0-A405-8BAD350F7CCE}" dt="2023-11-20T16:26:18.569" v="45" actId="20577"/>
          <ac:spMkLst>
            <pc:docMk/>
            <pc:sldMk cId="317514304" sldId="2146846898"/>
            <ac:spMk id="215" creationId="{54730ED3-0AD9-C84A-148E-8A342529EA38}"/>
          </ac:spMkLst>
        </pc:spChg>
        <pc:spChg chg="mod">
          <ac:chgData name="Awais Salman" userId="0bd7bc98ed6624ef" providerId="LiveId" clId="{C7F1C471-7A40-4BD0-A405-8BAD350F7CCE}" dt="2023-11-20T16:25:32.048" v="4" actId="20577"/>
          <ac:spMkLst>
            <pc:docMk/>
            <pc:sldMk cId="317514304" sldId="2146846898"/>
            <ac:spMk id="737" creationId="{CDA494ED-9542-149A-BE27-7546850D0DAC}"/>
          </ac:spMkLst>
        </pc:spChg>
        <pc:spChg chg="del">
          <ac:chgData name="Awais Salman" userId="0bd7bc98ed6624ef" providerId="LiveId" clId="{C7F1C471-7A40-4BD0-A405-8BAD350F7CCE}" dt="2023-11-20T16:25:35.063" v="5" actId="478"/>
          <ac:spMkLst>
            <pc:docMk/>
            <pc:sldMk cId="317514304" sldId="2146846898"/>
            <ac:spMk id="974" creationId="{6CACD2A9-FEA7-8CE2-10B7-5129E72088AE}"/>
          </ac:spMkLst>
        </pc:spChg>
      </pc:sldChg>
    </pc:docChg>
  </pc:docChgLst>
  <pc:docChgLst>
    <pc:chgData name="Awais Salman" userId="0bd7bc98ed6624ef" providerId="LiveId" clId="{AC274273-5497-4C6B-BB53-08105B308E4F}"/>
    <pc:docChg chg="custSel addSld modSld">
      <pc:chgData name="Awais Salman" userId="0bd7bc98ed6624ef" providerId="LiveId" clId="{AC274273-5497-4C6B-BB53-08105B308E4F}" dt="2023-11-20T21:50:15.518" v="3" actId="478"/>
      <pc:docMkLst>
        <pc:docMk/>
      </pc:docMkLst>
      <pc:sldChg chg="delSp add mod">
        <pc:chgData name="Awais Salman" userId="0bd7bc98ed6624ef" providerId="LiveId" clId="{AC274273-5497-4C6B-BB53-08105B308E4F}" dt="2023-11-20T21:50:15.518" v="3" actId="478"/>
        <pc:sldMkLst>
          <pc:docMk/>
          <pc:sldMk cId="401168038" sldId="2146846895"/>
        </pc:sldMkLst>
        <pc:spChg chg="del">
          <ac:chgData name="Awais Salman" userId="0bd7bc98ed6624ef" providerId="LiveId" clId="{AC274273-5497-4C6B-BB53-08105B308E4F}" dt="2023-11-20T21:50:15.518" v="3" actId="478"/>
          <ac:spMkLst>
            <pc:docMk/>
            <pc:sldMk cId="401168038" sldId="2146846895"/>
            <ac:spMk id="17" creationId="{EFF3C2C3-B6C5-EE95-BB9B-F3D8146ECBDA}"/>
          </ac:spMkLst>
        </pc:spChg>
      </pc:sldChg>
      <pc:sldChg chg="addSp delSp modSp">
        <pc:chgData name="Awais Salman" userId="0bd7bc98ed6624ef" providerId="LiveId" clId="{AC274273-5497-4C6B-BB53-08105B308E4F}" dt="2023-11-20T21:49:57.468" v="1"/>
        <pc:sldMkLst>
          <pc:docMk/>
          <pc:sldMk cId="317514304" sldId="2146846898"/>
        </pc:sldMkLst>
        <pc:graphicFrameChg chg="add del mod">
          <ac:chgData name="Awais Salman" userId="0bd7bc98ed6624ef" providerId="LiveId" clId="{AC274273-5497-4C6B-BB53-08105B308E4F}" dt="2023-11-20T21:49:57.468" v="1"/>
          <ac:graphicFrameMkLst>
            <pc:docMk/>
            <pc:sldMk cId="317514304" sldId="2146846898"/>
            <ac:graphicFrameMk id="8" creationId="{94342DBF-3D0A-BF03-B924-6C53835DC402}"/>
          </ac:graphicFrameMkLst>
        </pc:graphicFrameChg>
      </pc:sldChg>
    </pc:docChg>
  </pc:docChgLst>
  <pc:docChgLst>
    <pc:chgData name="Awais Salman" userId="0bd7bc98ed6624ef" providerId="LiveId" clId="{5259D451-B1E3-4964-8FD0-D49818FF90AD}"/>
    <pc:docChg chg="undo custSel addSld delSld modSld">
      <pc:chgData name="Awais Salman" userId="0bd7bc98ed6624ef" providerId="LiveId" clId="{5259D451-B1E3-4964-8FD0-D49818FF90AD}" dt="2023-11-12T20:49:54.098" v="36" actId="6549"/>
      <pc:docMkLst>
        <pc:docMk/>
      </pc:docMkLst>
      <pc:sldChg chg="delSp modSp del mod">
        <pc:chgData name="Awais Salman" userId="0bd7bc98ed6624ef" providerId="LiveId" clId="{5259D451-B1E3-4964-8FD0-D49818FF90AD}" dt="2023-11-12T20:49:24.783" v="29" actId="47"/>
        <pc:sldMkLst>
          <pc:docMk/>
          <pc:sldMk cId="3729859324" sldId="2146846897"/>
        </pc:sldMkLst>
        <pc:spChg chg="del mod">
          <ac:chgData name="Awais Salman" userId="0bd7bc98ed6624ef" providerId="LiveId" clId="{5259D451-B1E3-4964-8FD0-D49818FF90AD}" dt="2023-11-12T20:48:13.528" v="21"/>
          <ac:spMkLst>
            <pc:docMk/>
            <pc:sldMk cId="3729859324" sldId="2146846897"/>
            <ac:spMk id="15" creationId="{32820077-D01B-672D-7425-71C184FAD591}"/>
          </ac:spMkLst>
        </pc:spChg>
        <pc:spChg chg="mod">
          <ac:chgData name="Awais Salman" userId="0bd7bc98ed6624ef" providerId="LiveId" clId="{5259D451-B1E3-4964-8FD0-D49818FF90AD}" dt="2023-11-12T20:49:19.296" v="27" actId="1076"/>
          <ac:spMkLst>
            <pc:docMk/>
            <pc:sldMk cId="3729859324" sldId="2146846897"/>
            <ac:spMk id="18" creationId="{DA664C62-7C2A-4362-62C8-E8DBC9612902}"/>
          </ac:spMkLst>
        </pc:spChg>
        <pc:spChg chg="del mod">
          <ac:chgData name="Awais Salman" userId="0bd7bc98ed6624ef" providerId="LiveId" clId="{5259D451-B1E3-4964-8FD0-D49818FF90AD}" dt="2023-11-12T20:48:13.530" v="23"/>
          <ac:spMkLst>
            <pc:docMk/>
            <pc:sldMk cId="3729859324" sldId="2146846897"/>
            <ac:spMk id="22" creationId="{24DBAEE3-68B1-1356-7136-31BF6BE7AD1B}"/>
          </ac:spMkLst>
        </pc:spChg>
        <pc:spChg chg="del mod">
          <ac:chgData name="Awais Salman" userId="0bd7bc98ed6624ef" providerId="LiveId" clId="{5259D451-B1E3-4964-8FD0-D49818FF90AD}" dt="2023-11-12T20:48:13.532" v="25"/>
          <ac:spMkLst>
            <pc:docMk/>
            <pc:sldMk cId="3729859324" sldId="2146846897"/>
            <ac:spMk id="57" creationId="{4C744768-D8FD-8453-E22D-70F7198B67F9}"/>
          </ac:spMkLst>
        </pc:spChg>
        <pc:spChg chg="mod">
          <ac:chgData name="Awais Salman" userId="0bd7bc98ed6624ef" providerId="LiveId" clId="{5259D451-B1E3-4964-8FD0-D49818FF90AD}" dt="2023-11-12T20:48:09.195" v="18" actId="6549"/>
          <ac:spMkLst>
            <pc:docMk/>
            <pc:sldMk cId="3729859324" sldId="2146846897"/>
            <ac:spMk id="957" creationId="{DEDF5963-F20D-CAB9-D3B6-356DFEF1158E}"/>
          </ac:spMkLst>
        </pc:spChg>
        <pc:spChg chg="mod">
          <ac:chgData name="Awais Salman" userId="0bd7bc98ed6624ef" providerId="LiveId" clId="{5259D451-B1E3-4964-8FD0-D49818FF90AD}" dt="2023-11-12T20:47:59.711" v="16" actId="6549"/>
          <ac:spMkLst>
            <pc:docMk/>
            <pc:sldMk cId="3729859324" sldId="2146846897"/>
            <ac:spMk id="980" creationId="{67B9D314-DDDB-83BA-B4EA-F8C4D078D6DE}"/>
          </ac:spMkLst>
        </pc:spChg>
        <pc:spChg chg="mod">
          <ac:chgData name="Awais Salman" userId="0bd7bc98ed6624ef" providerId="LiveId" clId="{5259D451-B1E3-4964-8FD0-D49818FF90AD}" dt="2023-11-12T20:48:06.498" v="17" actId="6549"/>
          <ac:spMkLst>
            <pc:docMk/>
            <pc:sldMk cId="3729859324" sldId="2146846897"/>
            <ac:spMk id="981" creationId="{D2AB20CE-61AC-35F1-3B3A-35190C86A942}"/>
          </ac:spMkLst>
        </pc:spChg>
        <pc:spChg chg="mod">
          <ac:chgData name="Awais Salman" userId="0bd7bc98ed6624ef" providerId="LiveId" clId="{5259D451-B1E3-4964-8FD0-D49818FF90AD}" dt="2023-11-12T20:48:11.930" v="19" actId="6549"/>
          <ac:spMkLst>
            <pc:docMk/>
            <pc:sldMk cId="3729859324" sldId="2146846897"/>
            <ac:spMk id="982" creationId="{3A2DB06A-9C2E-835E-F472-3CE5AD63220C}"/>
          </ac:spMkLst>
        </pc:spChg>
      </pc:sldChg>
      <pc:sldChg chg="modSp add mod">
        <pc:chgData name="Awais Salman" userId="0bd7bc98ed6624ef" providerId="LiveId" clId="{5259D451-B1E3-4964-8FD0-D49818FF90AD}" dt="2023-11-12T20:49:54.098" v="36" actId="6549"/>
        <pc:sldMkLst>
          <pc:docMk/>
          <pc:sldMk cId="317514304" sldId="2146846898"/>
        </pc:sldMkLst>
        <pc:spChg chg="mod">
          <ac:chgData name="Awais Salman" userId="0bd7bc98ed6624ef" providerId="LiveId" clId="{5259D451-B1E3-4964-8FD0-D49818FF90AD}" dt="2023-11-12T20:49:29.457" v="30" actId="20577"/>
          <ac:spMkLst>
            <pc:docMk/>
            <pc:sldMk cId="317514304" sldId="2146846898"/>
            <ac:spMk id="15" creationId="{32820077-D01B-672D-7425-71C184FAD591}"/>
          </ac:spMkLst>
        </pc:spChg>
        <pc:spChg chg="mod">
          <ac:chgData name="Awais Salman" userId="0bd7bc98ed6624ef" providerId="LiveId" clId="{5259D451-B1E3-4964-8FD0-D49818FF90AD}" dt="2023-11-12T20:49:35.692" v="31" actId="6549"/>
          <ac:spMkLst>
            <pc:docMk/>
            <pc:sldMk cId="317514304" sldId="2146846898"/>
            <ac:spMk id="22" creationId="{24DBAEE3-68B1-1356-7136-31BF6BE7AD1B}"/>
          </ac:spMkLst>
        </pc:spChg>
        <pc:spChg chg="mod">
          <ac:chgData name="Awais Salman" userId="0bd7bc98ed6624ef" providerId="LiveId" clId="{5259D451-B1E3-4964-8FD0-D49818FF90AD}" dt="2023-11-12T20:49:38.919" v="32" actId="20577"/>
          <ac:spMkLst>
            <pc:docMk/>
            <pc:sldMk cId="317514304" sldId="2146846898"/>
            <ac:spMk id="57" creationId="{4C744768-D8FD-8453-E22D-70F7198B67F9}"/>
          </ac:spMkLst>
        </pc:spChg>
        <pc:spChg chg="mod">
          <ac:chgData name="Awais Salman" userId="0bd7bc98ed6624ef" providerId="LiveId" clId="{5259D451-B1E3-4964-8FD0-D49818FF90AD}" dt="2023-11-12T20:49:51.230" v="35" actId="6549"/>
          <ac:spMkLst>
            <pc:docMk/>
            <pc:sldMk cId="317514304" sldId="2146846898"/>
            <ac:spMk id="957" creationId="{DEDF5963-F20D-CAB9-D3B6-356DFEF1158E}"/>
          </ac:spMkLst>
        </pc:spChg>
        <pc:spChg chg="mod">
          <ac:chgData name="Awais Salman" userId="0bd7bc98ed6624ef" providerId="LiveId" clId="{5259D451-B1E3-4964-8FD0-D49818FF90AD}" dt="2023-11-12T20:49:43.864" v="33" actId="6549"/>
          <ac:spMkLst>
            <pc:docMk/>
            <pc:sldMk cId="317514304" sldId="2146846898"/>
            <ac:spMk id="980" creationId="{67B9D314-DDDB-83BA-B4EA-F8C4D078D6DE}"/>
          </ac:spMkLst>
        </pc:spChg>
        <pc:spChg chg="mod">
          <ac:chgData name="Awais Salman" userId="0bd7bc98ed6624ef" providerId="LiveId" clId="{5259D451-B1E3-4964-8FD0-D49818FF90AD}" dt="2023-11-12T20:49:46.331" v="34" actId="6549"/>
          <ac:spMkLst>
            <pc:docMk/>
            <pc:sldMk cId="317514304" sldId="2146846898"/>
            <ac:spMk id="981" creationId="{D2AB20CE-61AC-35F1-3B3A-35190C86A942}"/>
          </ac:spMkLst>
        </pc:spChg>
        <pc:spChg chg="mod">
          <ac:chgData name="Awais Salman" userId="0bd7bc98ed6624ef" providerId="LiveId" clId="{5259D451-B1E3-4964-8FD0-D49818FF90AD}" dt="2023-11-12T20:49:54.098" v="36" actId="6549"/>
          <ac:spMkLst>
            <pc:docMk/>
            <pc:sldMk cId="317514304" sldId="2146846898"/>
            <ac:spMk id="982" creationId="{3A2DB06A-9C2E-835E-F472-3CE5AD63220C}"/>
          </ac:spMkLst>
        </pc:spChg>
      </pc:sldChg>
      <pc:sldChg chg="add del">
        <pc:chgData name="Awais Salman" userId="0bd7bc98ed6624ef" providerId="LiveId" clId="{5259D451-B1E3-4964-8FD0-D49818FF90AD}" dt="2023-11-12T20:47:41.782" v="11" actId="47"/>
        <pc:sldMkLst>
          <pc:docMk/>
          <pc:sldMk cId="1846280922" sldId="2147328675"/>
        </pc:sldMkLst>
      </pc:sldChg>
      <pc:sldMasterChg chg="delSldLayout">
        <pc:chgData name="Awais Salman" userId="0bd7bc98ed6624ef" providerId="LiveId" clId="{5259D451-B1E3-4964-8FD0-D49818FF90AD}" dt="2023-11-12T20:46:18.752" v="10" actId="47"/>
        <pc:sldMasterMkLst>
          <pc:docMk/>
          <pc:sldMasterMk cId="765272352" sldId="2147483648"/>
        </pc:sldMasterMkLst>
        <pc:sldLayoutChg chg="del">
          <pc:chgData name="Awais Salman" userId="0bd7bc98ed6624ef" providerId="LiveId" clId="{5259D451-B1E3-4964-8FD0-D49818FF90AD}" dt="2023-11-12T20:46:18.752" v="10" actId="47"/>
          <pc:sldLayoutMkLst>
            <pc:docMk/>
            <pc:sldMasterMk cId="765272352" sldId="2147483648"/>
            <pc:sldLayoutMk cId="515437971" sldId="2147483660"/>
          </pc:sldLayoutMkLst>
        </pc:sldLayoutChg>
      </pc:sldMasterChg>
    </pc:docChg>
  </pc:docChgLst>
  <pc:docChgLst>
    <pc:chgData name="Awais Salman" userId="0bd7bc98ed6624ef" providerId="LiveId" clId="{566702C5-182E-4278-A508-274C88809CE1}"/>
    <pc:docChg chg="undo custSel addSld delSld modSld sldOrd">
      <pc:chgData name="Awais Salman" userId="0bd7bc98ed6624ef" providerId="LiveId" clId="{566702C5-182E-4278-A508-274C88809CE1}" dt="2023-11-20T23:42:21.774" v="445" actId="20577"/>
      <pc:docMkLst>
        <pc:docMk/>
      </pc:docMkLst>
      <pc:sldChg chg="addSp delSp modSp del mod">
        <pc:chgData name="Awais Salman" userId="0bd7bc98ed6624ef" providerId="LiveId" clId="{566702C5-182E-4278-A508-274C88809CE1}" dt="2023-11-20T22:21:39.753" v="297" actId="47"/>
        <pc:sldMkLst>
          <pc:docMk/>
          <pc:sldMk cId="401168038" sldId="2146846895"/>
        </pc:sldMkLst>
        <pc:spChg chg="del">
          <ac:chgData name="Awais Salman" userId="0bd7bc98ed6624ef" providerId="LiveId" clId="{566702C5-182E-4278-A508-274C88809CE1}" dt="2023-11-20T22:01:21.311" v="5" actId="478"/>
          <ac:spMkLst>
            <pc:docMk/>
            <pc:sldMk cId="401168038" sldId="2146846895"/>
            <ac:spMk id="2" creationId="{9FDD0B93-9617-5D5D-D5C0-722B05A4A0B5}"/>
          </ac:spMkLst>
        </pc:spChg>
        <pc:spChg chg="del mod">
          <ac:chgData name="Awais Salman" userId="0bd7bc98ed6624ef" providerId="LiveId" clId="{566702C5-182E-4278-A508-274C88809CE1}" dt="2023-11-20T22:02:11.536" v="21"/>
          <ac:spMkLst>
            <pc:docMk/>
            <pc:sldMk cId="401168038" sldId="2146846895"/>
            <ac:spMk id="3" creationId="{D79306DA-DA88-400E-B678-2B5E8EB18686}"/>
          </ac:spMkLst>
        </pc:spChg>
        <pc:spChg chg="add mod">
          <ac:chgData name="Awais Salman" userId="0bd7bc98ed6624ef" providerId="LiveId" clId="{566702C5-182E-4278-A508-274C88809CE1}" dt="2023-11-20T22:01:25.961" v="6" actId="1076"/>
          <ac:spMkLst>
            <pc:docMk/>
            <pc:sldMk cId="401168038" sldId="2146846895"/>
            <ac:spMk id="17" creationId="{85BE735E-D50E-40F6-673D-4BC1C9E9ECEC}"/>
          </ac:spMkLst>
        </pc:spChg>
        <pc:spChg chg="del mod">
          <ac:chgData name="Awais Salman" userId="0bd7bc98ed6624ef" providerId="LiveId" clId="{566702C5-182E-4278-A508-274C88809CE1}" dt="2023-11-20T22:02:31.423" v="27" actId="478"/>
          <ac:spMkLst>
            <pc:docMk/>
            <pc:sldMk cId="401168038" sldId="2146846895"/>
            <ac:spMk id="33" creationId="{C19944B5-BBFC-AB7A-6B5C-BC4E87332DEA}"/>
          </ac:spMkLst>
        </pc:spChg>
        <pc:spChg chg="add mod">
          <ac:chgData name="Awais Salman" userId="0bd7bc98ed6624ef" providerId="LiveId" clId="{566702C5-182E-4278-A508-274C88809CE1}" dt="2023-11-20T22:01:46.878" v="13" actId="1076"/>
          <ac:spMkLst>
            <pc:docMk/>
            <pc:sldMk cId="401168038" sldId="2146846895"/>
            <ac:spMk id="936" creationId="{E6AB2452-95BF-5164-1D26-2DE0BF97F480}"/>
          </ac:spMkLst>
        </pc:spChg>
        <pc:spChg chg="add mod">
          <ac:chgData name="Awais Salman" userId="0bd7bc98ed6624ef" providerId="LiveId" clId="{566702C5-182E-4278-A508-274C88809CE1}" dt="2023-11-20T22:02:07.034" v="19" actId="1076"/>
          <ac:spMkLst>
            <pc:docMk/>
            <pc:sldMk cId="401168038" sldId="2146846895"/>
            <ac:spMk id="937" creationId="{5EA491D6-DFFE-B070-D97C-CD925CC7E605}"/>
          </ac:spMkLst>
        </pc:spChg>
        <pc:spChg chg="add mod">
          <ac:chgData name="Awais Salman" userId="0bd7bc98ed6624ef" providerId="LiveId" clId="{566702C5-182E-4278-A508-274C88809CE1}" dt="2023-11-20T22:02:28.847" v="26" actId="1076"/>
          <ac:spMkLst>
            <pc:docMk/>
            <pc:sldMk cId="401168038" sldId="2146846895"/>
            <ac:spMk id="938" creationId="{0226BB08-1691-F17D-50BA-DE4035F0C889}"/>
          </ac:spMkLst>
        </pc:spChg>
        <pc:spChg chg="mod">
          <ac:chgData name="Awais Salman" userId="0bd7bc98ed6624ef" providerId="LiveId" clId="{566702C5-182E-4278-A508-274C88809CE1}" dt="2023-11-20T22:01:56.325" v="16" actId="21"/>
          <ac:spMkLst>
            <pc:docMk/>
            <pc:sldMk cId="401168038" sldId="2146846895"/>
            <ac:spMk id="1014" creationId="{C1F78CF0-B27A-E3C2-69F7-B445762FF694}"/>
          </ac:spMkLst>
        </pc:spChg>
      </pc:sldChg>
      <pc:sldChg chg="addSp delSp modSp add mod ord">
        <pc:chgData name="Awais Salman" userId="0bd7bc98ed6624ef" providerId="LiveId" clId="{566702C5-182E-4278-A508-274C88809CE1}" dt="2023-11-20T23:42:21.774" v="445" actId="20577"/>
        <pc:sldMkLst>
          <pc:docMk/>
          <pc:sldMk cId="2827101616" sldId="2146846896"/>
        </pc:sldMkLst>
        <pc:spChg chg="add mod">
          <ac:chgData name="Awais Salman" userId="0bd7bc98ed6624ef" providerId="LiveId" clId="{566702C5-182E-4278-A508-274C88809CE1}" dt="2023-11-20T23:24:30.201" v="356" actId="20577"/>
          <ac:spMkLst>
            <pc:docMk/>
            <pc:sldMk cId="2827101616" sldId="2146846896"/>
            <ac:spMk id="2" creationId="{CC6187B3-F8DA-D634-A68D-B0657ABCC336}"/>
          </ac:spMkLst>
        </pc:spChg>
        <pc:spChg chg="add mod">
          <ac:chgData name="Awais Salman" userId="0bd7bc98ed6624ef" providerId="LiveId" clId="{566702C5-182E-4278-A508-274C88809CE1}" dt="2023-11-20T22:08:40.782" v="46"/>
          <ac:spMkLst>
            <pc:docMk/>
            <pc:sldMk cId="2827101616" sldId="2146846896"/>
            <ac:spMk id="3" creationId="{B73D03A8-0AC6-3DF8-EC33-AC724EE8438E}"/>
          </ac:spMkLst>
        </pc:spChg>
        <pc:spChg chg="add mod">
          <ac:chgData name="Awais Salman" userId="0bd7bc98ed6624ef" providerId="LiveId" clId="{566702C5-182E-4278-A508-274C88809CE1}" dt="2023-11-20T22:08:40.782" v="46"/>
          <ac:spMkLst>
            <pc:docMk/>
            <pc:sldMk cId="2827101616" sldId="2146846896"/>
            <ac:spMk id="4" creationId="{B0B663A4-69B6-8B75-2877-F8168221DFF8}"/>
          </ac:spMkLst>
        </pc:spChg>
        <pc:spChg chg="add del mod">
          <ac:chgData name="Awais Salman" userId="0bd7bc98ed6624ef" providerId="LiveId" clId="{566702C5-182E-4278-A508-274C88809CE1}" dt="2023-11-20T22:43:00.580" v="305"/>
          <ac:spMkLst>
            <pc:docMk/>
            <pc:sldMk cId="2827101616" sldId="2146846896"/>
            <ac:spMk id="13" creationId="{5417BEAA-C7AA-11E4-D845-09D0696C7398}"/>
          </ac:spMkLst>
        </pc:spChg>
        <pc:spChg chg="add mod">
          <ac:chgData name="Awais Salman" userId="0bd7bc98ed6624ef" providerId="LiveId" clId="{566702C5-182E-4278-A508-274C88809CE1}" dt="2023-11-20T23:42:18.637" v="441" actId="20577"/>
          <ac:spMkLst>
            <pc:docMk/>
            <pc:sldMk cId="2827101616" sldId="2146846896"/>
            <ac:spMk id="13" creationId="{9E869513-9549-F21C-0996-0CBA760BF8D2}"/>
          </ac:spMkLst>
        </pc:spChg>
        <pc:spChg chg="del">
          <ac:chgData name="Awais Salman" userId="0bd7bc98ed6624ef" providerId="LiveId" clId="{566702C5-182E-4278-A508-274C88809CE1}" dt="2023-11-20T22:07:14.194" v="45" actId="478"/>
          <ac:spMkLst>
            <pc:docMk/>
            <pc:sldMk cId="2827101616" sldId="2146846896"/>
            <ac:spMk id="13" creationId="{A5163380-CF83-B223-88FA-74A2F129CE2F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15" creationId="{3A00EDDB-C578-83D1-D385-62B5A466A14A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16" creationId="{4F27A021-D4D1-40DD-5C09-80DBE115E8F0}"/>
          </ac:spMkLst>
        </pc:spChg>
        <pc:spChg chg="del">
          <ac:chgData name="Awais Salman" userId="0bd7bc98ed6624ef" providerId="LiveId" clId="{566702C5-182E-4278-A508-274C88809CE1}" dt="2023-11-20T22:06:24.516" v="36" actId="478"/>
          <ac:spMkLst>
            <pc:docMk/>
            <pc:sldMk cId="2827101616" sldId="2146846896"/>
            <ac:spMk id="17" creationId="{85BE735E-D50E-40F6-673D-4BC1C9E9ECEC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32" creationId="{B61D9561-724F-D34E-225C-3F96844DF78C}"/>
          </ac:spMkLst>
        </pc:spChg>
        <pc:spChg chg="add mod">
          <ac:chgData name="Awais Salman" userId="0bd7bc98ed6624ef" providerId="LiveId" clId="{566702C5-182E-4278-A508-274C88809CE1}" dt="2023-11-20T22:15:20.785" v="192"/>
          <ac:spMkLst>
            <pc:docMk/>
            <pc:sldMk cId="2827101616" sldId="2146846896"/>
            <ac:spMk id="32" creationId="{CF011359-F138-A5D9-C5CC-22D81C112080}"/>
          </ac:spMkLst>
        </pc:spChg>
        <pc:spChg chg="add del mod">
          <ac:chgData name="Awais Salman" userId="0bd7bc98ed6624ef" providerId="LiveId" clId="{566702C5-182E-4278-A508-274C88809CE1}" dt="2023-11-20T22:18:09.614" v="266" actId="478"/>
          <ac:spMkLst>
            <pc:docMk/>
            <pc:sldMk cId="2827101616" sldId="2146846896"/>
            <ac:spMk id="33" creationId="{9574004D-99F6-A19A-7B95-BEAA9F7DFD7B}"/>
          </ac:spMkLst>
        </pc:spChg>
        <pc:spChg chg="add mod">
          <ac:chgData name="Awais Salman" userId="0bd7bc98ed6624ef" providerId="LiveId" clId="{566702C5-182E-4278-A508-274C88809CE1}" dt="2023-11-20T22:21:36.716" v="296"/>
          <ac:spMkLst>
            <pc:docMk/>
            <pc:sldMk cId="2827101616" sldId="2146846896"/>
            <ac:spMk id="33" creationId="{DB219C0F-A168-737F-7CF2-4A6ED0CC46E9}"/>
          </ac:spMkLst>
        </pc:spChg>
        <pc:spChg chg="add del mod">
          <ac:chgData name="Awais Salman" userId="0bd7bc98ed6624ef" providerId="LiveId" clId="{566702C5-182E-4278-A508-274C88809CE1}" dt="2023-11-20T22:18:42.089" v="294" actId="478"/>
          <ac:spMkLst>
            <pc:docMk/>
            <pc:sldMk cId="2827101616" sldId="2146846896"/>
            <ac:spMk id="34" creationId="{39552690-DC66-3FB2-8C7F-ADBE29A39694}"/>
          </ac:spMkLst>
        </pc:spChg>
        <pc:spChg chg="add del mod">
          <ac:chgData name="Awais Salman" userId="0bd7bc98ed6624ef" providerId="LiveId" clId="{566702C5-182E-4278-A508-274C88809CE1}" dt="2023-11-20T22:53:51.074" v="350" actId="478"/>
          <ac:spMkLst>
            <pc:docMk/>
            <pc:sldMk cId="2827101616" sldId="2146846896"/>
            <ac:spMk id="34" creationId="{39FC84C3-4307-4502-0E3F-9C6ABFB2E3AA}"/>
          </ac:spMkLst>
        </pc:spChg>
        <pc:spChg chg="del">
          <ac:chgData name="Awais Salman" userId="0bd7bc98ed6624ef" providerId="LiveId" clId="{566702C5-182E-4278-A508-274C88809CE1}" dt="2023-11-20T22:06:30.459" v="38" actId="478"/>
          <ac:spMkLst>
            <pc:docMk/>
            <pc:sldMk cId="2827101616" sldId="2146846896"/>
            <ac:spMk id="35" creationId="{4BDE6891-96CC-3119-C115-07C36938381D}"/>
          </ac:spMkLst>
        </pc:spChg>
        <pc:spChg chg="add mod">
          <ac:chgData name="Awais Salman" userId="0bd7bc98ed6624ef" providerId="LiveId" clId="{566702C5-182E-4278-A508-274C88809CE1}" dt="2023-11-20T23:30:29.540" v="423" actId="20577"/>
          <ac:spMkLst>
            <pc:docMk/>
            <pc:sldMk cId="2827101616" sldId="2146846896"/>
            <ac:spMk id="35" creationId="{C450B2F1-650B-13A9-CDCD-76863C79BB83}"/>
          </ac:spMkLst>
        </pc:spChg>
        <pc:spChg chg="add mod">
          <ac:chgData name="Awais Salman" userId="0bd7bc98ed6624ef" providerId="LiveId" clId="{566702C5-182E-4278-A508-274C88809CE1}" dt="2023-11-20T22:15:41.976" v="194"/>
          <ac:spMkLst>
            <pc:docMk/>
            <pc:sldMk cId="2827101616" sldId="2146846896"/>
            <ac:spMk id="36" creationId="{10786109-EEE7-79FE-7DFB-289B84981067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36" creationId="{2734C1D7-BBB3-9FA4-93F5-441384F1207E}"/>
          </ac:spMkLst>
        </pc:spChg>
        <pc:spChg chg="add mod">
          <ac:chgData name="Awais Salman" userId="0bd7bc98ed6624ef" providerId="LiveId" clId="{566702C5-182E-4278-A508-274C88809CE1}" dt="2023-11-20T22:15:41.976" v="194"/>
          <ac:spMkLst>
            <pc:docMk/>
            <pc:sldMk cId="2827101616" sldId="2146846896"/>
            <ac:spMk id="39" creationId="{287CFDAF-E0D7-3898-7392-91C0E87AF9F0}"/>
          </ac:spMkLst>
        </pc:spChg>
        <pc:spChg chg="add del mod">
          <ac:chgData name="Awais Salman" userId="0bd7bc98ed6624ef" providerId="LiveId" clId="{566702C5-182E-4278-A508-274C88809CE1}" dt="2023-11-20T22:09:53.413" v="52" actId="478"/>
          <ac:spMkLst>
            <pc:docMk/>
            <pc:sldMk cId="2827101616" sldId="2146846896"/>
            <ac:spMk id="39" creationId="{D6B3E658-F2E7-BA58-4AE0-38116F944FE3}"/>
          </ac:spMkLst>
        </pc:spChg>
        <pc:spChg chg="add mod">
          <ac:chgData name="Awais Salman" userId="0bd7bc98ed6624ef" providerId="LiveId" clId="{566702C5-182E-4278-A508-274C88809CE1}" dt="2023-11-20T23:28:47.544" v="391" actId="14100"/>
          <ac:spMkLst>
            <pc:docMk/>
            <pc:sldMk cId="2827101616" sldId="2146846896"/>
            <ac:spMk id="40" creationId="{417C992C-37A4-12C8-231E-9DA01C5061CC}"/>
          </ac:spMkLst>
        </pc:spChg>
        <pc:spChg chg="del">
          <ac:chgData name="Awais Salman" userId="0bd7bc98ed6624ef" providerId="LiveId" clId="{566702C5-182E-4278-A508-274C88809CE1}" dt="2023-11-20T22:07:08.230" v="43" actId="478"/>
          <ac:spMkLst>
            <pc:docMk/>
            <pc:sldMk cId="2827101616" sldId="2146846896"/>
            <ac:spMk id="40" creationId="{71C1A2FF-4A9B-977E-773D-C74D9275D1CE}"/>
          </ac:spMkLst>
        </pc:spChg>
        <pc:spChg chg="add del mod">
          <ac:chgData name="Awais Salman" userId="0bd7bc98ed6624ef" providerId="LiveId" clId="{566702C5-182E-4278-A508-274C88809CE1}" dt="2023-11-20T22:10:23.892" v="54" actId="478"/>
          <ac:spMkLst>
            <pc:docMk/>
            <pc:sldMk cId="2827101616" sldId="2146846896"/>
            <ac:spMk id="40" creationId="{E58E9431-5881-CB3F-8C4C-ADA48B02110A}"/>
          </ac:spMkLst>
        </pc:spChg>
        <pc:spChg chg="add mod">
          <ac:chgData name="Awais Salman" userId="0bd7bc98ed6624ef" providerId="LiveId" clId="{566702C5-182E-4278-A508-274C88809CE1}" dt="2023-11-20T23:23:15.498" v="355" actId="20577"/>
          <ac:spMkLst>
            <pc:docMk/>
            <pc:sldMk cId="2827101616" sldId="2146846896"/>
            <ac:spMk id="41" creationId="{E7CB8A88-313F-69E7-D826-6FB9878702A9}"/>
          </ac:spMkLst>
        </pc:spChg>
        <pc:spChg chg="add del">
          <ac:chgData name="Awais Salman" userId="0bd7bc98ed6624ef" providerId="LiveId" clId="{566702C5-182E-4278-A508-274C88809CE1}" dt="2023-11-20T23:27:20.713" v="361" actId="22"/>
          <ac:spMkLst>
            <pc:docMk/>
            <pc:sldMk cId="2827101616" sldId="2146846896"/>
            <ac:spMk id="42" creationId="{57F5D93E-EEDB-0AEF-886D-5B12B7F3AD75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42" creationId="{83570D1A-541F-A0B9-12BF-BDB1741F5484}"/>
          </ac:spMkLst>
        </pc:spChg>
        <pc:spChg chg="add mod">
          <ac:chgData name="Awais Salman" userId="0bd7bc98ed6624ef" providerId="LiveId" clId="{566702C5-182E-4278-A508-274C88809CE1}" dt="2023-11-20T23:36:45.083" v="437" actId="20577"/>
          <ac:spMkLst>
            <pc:docMk/>
            <pc:sldMk cId="2827101616" sldId="2146846896"/>
            <ac:spMk id="44" creationId="{931E24EF-3571-33BD-F774-82C6D64AD16A}"/>
          </ac:spMkLst>
        </pc:spChg>
        <pc:spChg chg="add mod">
          <ac:chgData name="Awais Salman" userId="0bd7bc98ed6624ef" providerId="LiveId" clId="{566702C5-182E-4278-A508-274C88809CE1}" dt="2023-11-20T23:36:28.664" v="428" actId="14100"/>
          <ac:spMkLst>
            <pc:docMk/>
            <pc:sldMk cId="2827101616" sldId="2146846896"/>
            <ac:spMk id="46" creationId="{924297BD-0736-F994-48C6-290FA7B10430}"/>
          </ac:spMkLst>
        </pc:spChg>
        <pc:spChg chg="add mod">
          <ac:chgData name="Awais Salman" userId="0bd7bc98ed6624ef" providerId="LiveId" clId="{566702C5-182E-4278-A508-274C88809CE1}" dt="2023-11-20T23:36:35.752" v="433" actId="14100"/>
          <ac:spMkLst>
            <pc:docMk/>
            <pc:sldMk cId="2827101616" sldId="2146846896"/>
            <ac:spMk id="48" creationId="{1313C25A-8F14-7248-E078-EEBA6B0B7063}"/>
          </ac:spMkLst>
        </pc:spChg>
        <pc:spChg chg="add mod">
          <ac:chgData name="Awais Salman" userId="0bd7bc98ed6624ef" providerId="LiveId" clId="{566702C5-182E-4278-A508-274C88809CE1}" dt="2023-11-20T23:29:06.630" v="400" actId="1076"/>
          <ac:spMkLst>
            <pc:docMk/>
            <pc:sldMk cId="2827101616" sldId="2146846896"/>
            <ac:spMk id="50" creationId="{59D3367C-4452-7BD6-B702-3E2BBDB9E3FB}"/>
          </ac:spMkLst>
        </pc:spChg>
        <pc:spChg chg="add mod">
          <ac:chgData name="Awais Salman" userId="0bd7bc98ed6624ef" providerId="LiveId" clId="{566702C5-182E-4278-A508-274C88809CE1}" dt="2023-11-20T23:29:30.926" v="411" actId="1076"/>
          <ac:spMkLst>
            <pc:docMk/>
            <pc:sldMk cId="2827101616" sldId="2146846896"/>
            <ac:spMk id="52" creationId="{A1FFC741-CEAB-C7D0-AEE3-5B9BECA9F106}"/>
          </ac:spMkLst>
        </pc:spChg>
        <pc:spChg chg="add mod">
          <ac:chgData name="Awais Salman" userId="0bd7bc98ed6624ef" providerId="LiveId" clId="{566702C5-182E-4278-A508-274C88809CE1}" dt="2023-11-20T23:30:25.674" v="422" actId="20577"/>
          <ac:spMkLst>
            <pc:docMk/>
            <pc:sldMk cId="2827101616" sldId="2146846896"/>
            <ac:spMk id="54" creationId="{A88F1461-E336-B888-15D2-D3388C8181E7}"/>
          </ac:spMkLst>
        </pc:spChg>
        <pc:spChg chg="del">
          <ac:chgData name="Awais Salman" userId="0bd7bc98ed6624ef" providerId="LiveId" clId="{566702C5-182E-4278-A508-274C88809CE1}" dt="2023-11-20T22:07:00.728" v="41" actId="478"/>
          <ac:spMkLst>
            <pc:docMk/>
            <pc:sldMk cId="2827101616" sldId="2146846896"/>
            <ac:spMk id="747" creationId="{DC918AC5-3203-18B9-EAAB-F19B0470B816}"/>
          </ac:spMkLst>
        </pc:spChg>
        <pc:spChg chg="add del mod">
          <ac:chgData name="Awais Salman" userId="0bd7bc98ed6624ef" providerId="LiveId" clId="{566702C5-182E-4278-A508-274C88809CE1}" dt="2023-11-20T22:43:00.581" v="307"/>
          <ac:spMkLst>
            <pc:docMk/>
            <pc:sldMk cId="2827101616" sldId="2146846896"/>
            <ac:spMk id="936" creationId="{474F0457-2454-6427-5A58-A2F6C78E754F}"/>
          </ac:spMkLst>
        </pc:spChg>
        <pc:spChg chg="add mod">
          <ac:chgData name="Awais Salman" userId="0bd7bc98ed6624ef" providerId="LiveId" clId="{566702C5-182E-4278-A508-274C88809CE1}" dt="2023-11-20T23:42:21.774" v="445" actId="20577"/>
          <ac:spMkLst>
            <pc:docMk/>
            <pc:sldMk cId="2827101616" sldId="2146846896"/>
            <ac:spMk id="936" creationId="{7B3EB7C7-4892-637F-C7B8-16CDA01BF5A0}"/>
          </ac:spMkLst>
        </pc:spChg>
        <pc:spChg chg="del">
          <ac:chgData name="Awais Salman" userId="0bd7bc98ed6624ef" providerId="LiveId" clId="{566702C5-182E-4278-A508-274C88809CE1}" dt="2023-11-20T22:06:28.117" v="37" actId="478"/>
          <ac:spMkLst>
            <pc:docMk/>
            <pc:sldMk cId="2827101616" sldId="2146846896"/>
            <ac:spMk id="936" creationId="{E6AB2452-95BF-5164-1D26-2DE0BF97F480}"/>
          </ac:spMkLst>
        </pc:spChg>
        <pc:spChg chg="add mod">
          <ac:chgData name="Awais Salman" userId="0bd7bc98ed6624ef" providerId="LiveId" clId="{566702C5-182E-4278-A508-274C88809CE1}" dt="2023-11-20T22:15:09.286" v="191"/>
          <ac:spMkLst>
            <pc:docMk/>
            <pc:sldMk cId="2827101616" sldId="2146846896"/>
            <ac:spMk id="937" creationId="{110362F4-71A4-F49F-5C59-C38D9BB06CA7}"/>
          </ac:spMkLst>
        </pc:spChg>
        <pc:spChg chg="del">
          <ac:chgData name="Awais Salman" userId="0bd7bc98ed6624ef" providerId="LiveId" clId="{566702C5-182E-4278-A508-274C88809CE1}" dt="2023-11-20T22:06:33.676" v="39" actId="478"/>
          <ac:spMkLst>
            <pc:docMk/>
            <pc:sldMk cId="2827101616" sldId="2146846896"/>
            <ac:spMk id="937" creationId="{5EA491D6-DFFE-B070-D97C-CD925CC7E605}"/>
          </ac:spMkLst>
        </pc:spChg>
        <pc:spChg chg="add del mod">
          <ac:chgData name="Awais Salman" userId="0bd7bc98ed6624ef" providerId="LiveId" clId="{566702C5-182E-4278-A508-274C88809CE1}" dt="2023-11-20T22:14:15.326" v="181" actId="478"/>
          <ac:spMkLst>
            <pc:docMk/>
            <pc:sldMk cId="2827101616" sldId="2146846896"/>
            <ac:spMk id="937" creationId="{9670F67D-65F6-5A3D-4D41-69CA9485799B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937" creationId="{EB090DAF-FA25-0DA1-D491-5373E8EF6D74}"/>
          </ac:spMkLst>
        </pc:spChg>
        <pc:spChg chg="add del mod">
          <ac:chgData name="Awais Salman" userId="0bd7bc98ed6624ef" providerId="LiveId" clId="{566702C5-182E-4278-A508-274C88809CE1}" dt="2023-11-20T22:11:37.803" v="61" actId="478"/>
          <ac:spMkLst>
            <pc:docMk/>
            <pc:sldMk cId="2827101616" sldId="2146846896"/>
            <ac:spMk id="937" creationId="{F390F1AB-538A-F69E-5685-0167377DF56C}"/>
          </ac:spMkLst>
        </pc:spChg>
        <pc:spChg chg="del">
          <ac:chgData name="Awais Salman" userId="0bd7bc98ed6624ef" providerId="LiveId" clId="{566702C5-182E-4278-A508-274C88809CE1}" dt="2023-11-20T22:06:21.697" v="35" actId="478"/>
          <ac:spMkLst>
            <pc:docMk/>
            <pc:sldMk cId="2827101616" sldId="2146846896"/>
            <ac:spMk id="938" creationId="{0226BB08-1691-F17D-50BA-DE4035F0C889}"/>
          </ac:spMkLst>
        </pc:spChg>
        <pc:spChg chg="add mod">
          <ac:chgData name="Awais Salman" userId="0bd7bc98ed6624ef" providerId="LiveId" clId="{566702C5-182E-4278-A508-274C88809CE1}" dt="2023-11-20T23:36:40.352" v="435" actId="20577"/>
          <ac:spMkLst>
            <pc:docMk/>
            <pc:sldMk cId="2827101616" sldId="2146846896"/>
            <ac:spMk id="938" creationId="{50D98F51-CA5A-FEF2-2E58-7F2EC4173865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938" creationId="{784EAFA1-19E3-1ED5-A9E8-E6F6B1D47FBA}"/>
          </ac:spMkLst>
        </pc:spChg>
        <pc:spChg chg="add mod">
          <ac:chgData name="Awais Salman" userId="0bd7bc98ed6624ef" providerId="LiveId" clId="{566702C5-182E-4278-A508-274C88809CE1}" dt="2023-11-20T23:29:14.511" v="403" actId="21"/>
          <ac:spMkLst>
            <pc:docMk/>
            <pc:sldMk cId="2827101616" sldId="2146846896"/>
            <ac:spMk id="939" creationId="{830F7102-22DB-1486-5CFC-A0448DB104AA}"/>
          </ac:spMkLst>
        </pc:spChg>
        <pc:spChg chg="add del mod">
          <ac:chgData name="Awais Salman" userId="0bd7bc98ed6624ef" providerId="LiveId" clId="{566702C5-182E-4278-A508-274C88809CE1}" dt="2023-11-20T22:09:23.817" v="48"/>
          <ac:spMkLst>
            <pc:docMk/>
            <pc:sldMk cId="2827101616" sldId="2146846896"/>
            <ac:spMk id="939" creationId="{E5B02AF5-CAD2-3668-218A-72320E7A9F64}"/>
          </ac:spMkLst>
        </pc:spChg>
        <pc:spChg chg="del">
          <ac:chgData name="Awais Salman" userId="0bd7bc98ed6624ef" providerId="LiveId" clId="{566702C5-182E-4278-A508-274C88809CE1}" dt="2023-11-20T22:07:11.304" v="44" actId="478"/>
          <ac:spMkLst>
            <pc:docMk/>
            <pc:sldMk cId="2827101616" sldId="2146846896"/>
            <ac:spMk id="965" creationId="{0E33724E-C35A-E8E6-C141-39D473ACE11D}"/>
          </ac:spMkLst>
        </pc:spChg>
        <pc:spChg chg="del">
          <ac:chgData name="Awais Salman" userId="0bd7bc98ed6624ef" providerId="LiveId" clId="{566702C5-182E-4278-A508-274C88809CE1}" dt="2023-11-20T22:06:12.467" v="34" actId="478"/>
          <ac:spMkLst>
            <pc:docMk/>
            <pc:sldMk cId="2827101616" sldId="2146846896"/>
            <ac:spMk id="1013" creationId="{CA07D4B9-C6AB-D15E-D159-7ABE519AFA1F}"/>
          </ac:spMkLst>
        </pc:spChg>
        <pc:spChg chg="del">
          <ac:chgData name="Awais Salman" userId="0bd7bc98ed6624ef" providerId="LiveId" clId="{566702C5-182E-4278-A508-274C88809CE1}" dt="2023-11-20T22:06:41.685" v="40" actId="478"/>
          <ac:spMkLst>
            <pc:docMk/>
            <pc:sldMk cId="2827101616" sldId="2146846896"/>
            <ac:spMk id="1014" creationId="{C1F78CF0-B27A-E3C2-69F7-B445762FF694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1172" creationId="{101AC2E6-C338-41BE-5498-AF40E478FFAB}"/>
          </ac:spMkLst>
        </pc:spChg>
        <pc:spChg chg="del">
          <ac:chgData name="Awais Salman" userId="0bd7bc98ed6624ef" providerId="LiveId" clId="{566702C5-182E-4278-A508-274C88809CE1}" dt="2023-11-20T22:07:04.209" v="42" actId="478"/>
          <ac:spMkLst>
            <pc:docMk/>
            <pc:sldMk cId="2827101616" sldId="2146846896"/>
            <ac:spMk id="1173" creationId="{48EE121D-47F9-D16F-4556-A3EC17EA170A}"/>
          </ac:spMkLst>
        </pc:spChg>
        <pc:picChg chg="del">
          <ac:chgData name="Awais Salman" userId="0bd7bc98ed6624ef" providerId="LiveId" clId="{566702C5-182E-4278-A508-274C88809CE1}" dt="2023-11-20T22:07:04.209" v="42" actId="478"/>
          <ac:picMkLst>
            <pc:docMk/>
            <pc:sldMk cId="2827101616" sldId="2146846896"/>
            <ac:picMk id="4" creationId="{3FD18554-B8B6-B5B2-A9F1-E52423792086}"/>
          </ac:picMkLst>
        </pc:picChg>
        <pc:picChg chg="add mod">
          <ac:chgData name="Awais Salman" userId="0bd7bc98ed6624ef" providerId="LiveId" clId="{566702C5-182E-4278-A508-274C88809CE1}" dt="2023-11-20T22:08:40.782" v="46"/>
          <ac:picMkLst>
            <pc:docMk/>
            <pc:sldMk cId="2827101616" sldId="2146846896"/>
            <ac:picMk id="15" creationId="{612A5839-BE7D-95E0-C1D5-72DE35D08870}"/>
          </ac:picMkLst>
        </pc:picChg>
        <pc:picChg chg="add mod">
          <ac:chgData name="Awais Salman" userId="0bd7bc98ed6624ef" providerId="LiveId" clId="{566702C5-182E-4278-A508-274C88809CE1}" dt="2023-11-20T22:08:40.782" v="46"/>
          <ac:picMkLst>
            <pc:docMk/>
            <pc:sldMk cId="2827101616" sldId="2146846896"/>
            <ac:picMk id="16" creationId="{F10FFF22-92E5-0E3E-A888-29511524DB84}"/>
          </ac:picMkLst>
        </pc:picChg>
        <pc:picChg chg="add mod">
          <ac:chgData name="Awais Salman" userId="0bd7bc98ed6624ef" providerId="LiveId" clId="{566702C5-182E-4278-A508-274C88809CE1}" dt="2023-11-20T22:08:40.782" v="46"/>
          <ac:picMkLst>
            <pc:docMk/>
            <pc:sldMk cId="2827101616" sldId="2146846896"/>
            <ac:picMk id="17" creationId="{C7B8DE28-F041-5FCC-531F-94D1E80974DE}"/>
          </ac:picMkLst>
        </pc:picChg>
        <pc:picChg chg="add del mod">
          <ac:chgData name="Awais Salman" userId="0bd7bc98ed6624ef" providerId="LiveId" clId="{566702C5-182E-4278-A508-274C88809CE1}" dt="2023-11-20T22:09:23.817" v="48"/>
          <ac:picMkLst>
            <pc:docMk/>
            <pc:sldMk cId="2827101616" sldId="2146846896"/>
            <ac:picMk id="33" creationId="{A7F81443-4F51-87E9-AB15-DDF4B7A0CC79}"/>
          </ac:picMkLst>
        </pc:picChg>
        <pc:picChg chg="add del mod">
          <ac:chgData name="Awais Salman" userId="0bd7bc98ed6624ef" providerId="LiveId" clId="{566702C5-182E-4278-A508-274C88809CE1}" dt="2023-11-20T22:09:23.817" v="48"/>
          <ac:picMkLst>
            <pc:docMk/>
            <pc:sldMk cId="2827101616" sldId="2146846896"/>
            <ac:picMk id="34" creationId="{78AD7A02-E34D-1110-7BA2-C3E978283446}"/>
          </ac:picMkLst>
        </pc:picChg>
        <pc:picChg chg="add del mod">
          <ac:chgData name="Awais Salman" userId="0bd7bc98ed6624ef" providerId="LiveId" clId="{566702C5-182E-4278-A508-274C88809CE1}" dt="2023-11-20T22:09:23.817" v="48"/>
          <ac:picMkLst>
            <pc:docMk/>
            <pc:sldMk cId="2827101616" sldId="2146846896"/>
            <ac:picMk id="35" creationId="{A1D4C51D-E773-B998-710D-3A32BA136154}"/>
          </ac:picMkLst>
        </pc:picChg>
        <pc:picChg chg="del">
          <ac:chgData name="Awais Salman" userId="0bd7bc98ed6624ef" providerId="LiveId" clId="{566702C5-182E-4278-A508-274C88809CE1}" dt="2023-11-20T22:07:04.209" v="42" actId="478"/>
          <ac:picMkLst>
            <pc:docMk/>
            <pc:sldMk cId="2827101616" sldId="2146846896"/>
            <ac:picMk id="39" creationId="{16445080-9B4F-4375-8644-00AF86F4754A}"/>
          </ac:picMkLst>
        </pc:picChg>
        <pc:picChg chg="del">
          <ac:chgData name="Awais Salman" userId="0bd7bc98ed6624ef" providerId="LiveId" clId="{566702C5-182E-4278-A508-274C88809CE1}" dt="2023-11-20T22:07:04.209" v="42" actId="478"/>
          <ac:picMkLst>
            <pc:docMk/>
            <pc:sldMk cId="2827101616" sldId="2146846896"/>
            <ac:picMk id="41" creationId="{470DDE23-19C5-A1BC-2E81-42DD8F7CBDFE}"/>
          </ac:picMkLst>
        </pc:picChg>
      </pc:sldChg>
      <pc:sldChg chg="add del">
        <pc:chgData name="Awais Salman" userId="0bd7bc98ed6624ef" providerId="LiveId" clId="{566702C5-182E-4278-A508-274C88809CE1}" dt="2023-11-20T22:15:04.466" v="190"/>
        <pc:sldMkLst>
          <pc:docMk/>
          <pc:sldMk cId="3318720676" sldId="2146846897"/>
        </pc:sldMkLst>
      </pc:sldChg>
      <pc:sldChg chg="del">
        <pc:chgData name="Awais Salman" userId="0bd7bc98ed6624ef" providerId="LiveId" clId="{566702C5-182E-4278-A508-274C88809CE1}" dt="2023-11-20T22:05:58.291" v="28" actId="47"/>
        <pc:sldMkLst>
          <pc:docMk/>
          <pc:sldMk cId="317514304" sldId="214684689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6C16A6-BAB8-4637-81D8-0E6CBFB9C109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47B405-C6EE-4E45-BF3E-953B795075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579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76525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image" Target="../media/image8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5.emf"/><Relationship Id="rId4" Type="http://schemas.openxmlformats.org/officeDocument/2006/relationships/image" Target="../media/image10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image" Target="../media/image1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image" Target="../media/image8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9.xml"/><Relationship Id="rId7" Type="http://schemas.openxmlformats.org/officeDocument/2006/relationships/image" Target="../media/image1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emf"/><Relationship Id="rId4" Type="http://schemas.openxmlformats.org/officeDocument/2006/relationships/image" Target="../media/image10.sv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8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7.xml"/><Relationship Id="rId7" Type="http://schemas.openxmlformats.org/officeDocument/2006/relationships/image" Target="../media/image20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9.jpeg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34D26-0433-16D3-088F-23D38AD173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623B69-63AF-229C-A6E7-2B6F17D661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25B77E-004D-1972-83A5-E0E270CAC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28530B-FEB3-C39B-2AA3-3E7434559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2AFE6-1AA4-7264-6129-513F1B6A56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17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6F5F0-30ED-979A-1D7E-4B1172DCD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7011D4-73C5-4302-6C6A-396EFE079A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709DFD-D1C7-6D44-678B-F71B40C20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90DA13-3D2B-0DDB-ED70-3F2350A64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1AA31E-767F-263C-4162-719BC4A69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183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2C6155-97FD-D3AC-25EF-33A98FA164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6D8C11-7A36-8393-3FFE-C9621E5AA9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68929-904C-7B9B-4852-F54AA2953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CBB4DB-620C-7488-4F46-CB7342EF07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8868F-4DE4-C7D4-DAA8-3AEB58A21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3896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July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cdtTextBox 12 Id17">
            <a:extLst>
              <a:ext uri="{FF2B5EF4-FFF2-40B4-BE49-F238E27FC236}">
                <a16:creationId xmlns:a16="http://schemas.microsoft.com/office/drawing/2014/main" id="{863354E9-2182-4503-133D-8ED2F1989DA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898804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July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BAF4960-C73A-E349-AA79-131897FCD112}"/>
              </a:ext>
            </a:extLst>
          </p:cNvPr>
          <p:cNvSpPr>
            <a:spLocks/>
          </p:cNvSpPr>
          <p:nvPr userDrawn="1"/>
        </p:nvSpPr>
        <p:spPr>
          <a:xfrm>
            <a:off x="4792306" y="1623522"/>
            <a:ext cx="6991963" cy="6991960"/>
          </a:xfrm>
          <a:prstGeom prst="rect">
            <a:avLst/>
          </a:prstGeom>
          <a:gradFill flip="none" rotWithShape="1">
            <a:gsLst>
              <a:gs pos="71000">
                <a:schemeClr val="bg1">
                  <a:alpha val="0"/>
                </a:schemeClr>
              </a:gs>
              <a:gs pos="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35923A9-44C3-6047-9189-8FC826E6DC6B}"/>
              </a:ext>
            </a:extLst>
          </p:cNvPr>
          <p:cNvGrpSpPr/>
          <p:nvPr userDrawn="1"/>
        </p:nvGrpSpPr>
        <p:grpSpPr>
          <a:xfrm>
            <a:off x="4331156" y="-1367588"/>
            <a:ext cx="3821787" cy="4297959"/>
            <a:chOff x="67468" y="1003645"/>
            <a:chExt cx="3821787" cy="4297959"/>
          </a:xfrm>
        </p:grpSpPr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FCD5299B-AD04-D049-941A-2AE7C286F4B1}"/>
                </a:ext>
              </a:extLst>
            </p:cNvPr>
            <p:cNvSpPr/>
            <p:nvPr/>
          </p:nvSpPr>
          <p:spPr>
            <a:xfrm rot="18010104">
              <a:off x="67102" y="4313208"/>
              <a:ext cx="168719" cy="167987"/>
            </a:xfrm>
            <a:custGeom>
              <a:avLst/>
              <a:gdLst>
                <a:gd name="connsiteX0" fmla="*/ 168720 w 168719"/>
                <a:gd name="connsiteY0" fmla="*/ 83988 h 167987"/>
                <a:gd name="connsiteX1" fmla="*/ 84732 w 168719"/>
                <a:gd name="connsiteY1" fmla="*/ 167977 h 167987"/>
                <a:gd name="connsiteX2" fmla="*/ 0 w 168719"/>
                <a:gd name="connsiteY2" fmla="*/ 83988 h 167987"/>
                <a:gd name="connsiteX3" fmla="*/ 83988 w 168719"/>
                <a:gd name="connsiteY3" fmla="*/ 0 h 167987"/>
                <a:gd name="connsiteX4" fmla="*/ 168720 w 168719"/>
                <a:gd name="connsiteY4" fmla="*/ 83988 h 167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719" h="167987">
                  <a:moveTo>
                    <a:pt x="168720" y="83988"/>
                  </a:moveTo>
                  <a:cubicBezTo>
                    <a:pt x="168720" y="130814"/>
                    <a:pt x="130814" y="167977"/>
                    <a:pt x="84732" y="167977"/>
                  </a:cubicBezTo>
                  <a:cubicBezTo>
                    <a:pt x="37906" y="168720"/>
                    <a:pt x="0" y="130814"/>
                    <a:pt x="0" y="83988"/>
                  </a:cubicBezTo>
                  <a:cubicBezTo>
                    <a:pt x="0" y="37163"/>
                    <a:pt x="37906" y="0"/>
                    <a:pt x="83988" y="0"/>
                  </a:cubicBezTo>
                  <a:cubicBezTo>
                    <a:pt x="130814" y="0"/>
                    <a:pt x="168720" y="37906"/>
                    <a:pt x="168720" y="83988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75935259-3BBB-1D47-80B3-A9E29A11AE64}"/>
                </a:ext>
              </a:extLst>
            </p:cNvPr>
            <p:cNvSpPr/>
            <p:nvPr/>
          </p:nvSpPr>
          <p:spPr>
            <a:xfrm rot="18010104">
              <a:off x="3804524" y="1175743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6240EC3A-2070-F64D-B81D-78C24A95DA8E}"/>
                </a:ext>
              </a:extLst>
            </p:cNvPr>
            <p:cNvSpPr/>
            <p:nvPr/>
          </p:nvSpPr>
          <p:spPr>
            <a:xfrm rot="18010104">
              <a:off x="1780418" y="1627458"/>
              <a:ext cx="84731" cy="84731"/>
            </a:xfrm>
            <a:custGeom>
              <a:avLst/>
              <a:gdLst>
                <a:gd name="connsiteX0" fmla="*/ 84731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1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1" y="42366"/>
                  </a:moveTo>
                  <a:cubicBezTo>
                    <a:pt x="84731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5407" y="743"/>
                    <a:pt x="84731" y="19325"/>
                    <a:pt x="84731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5" name="Freihandform: Form 13">
              <a:extLst>
                <a:ext uri="{FF2B5EF4-FFF2-40B4-BE49-F238E27FC236}">
                  <a16:creationId xmlns:a16="http://schemas.microsoft.com/office/drawing/2014/main" id="{604213E9-8F2A-F947-8B37-25B38AFADDD7}"/>
                </a:ext>
              </a:extLst>
            </p:cNvPr>
            <p:cNvSpPr/>
            <p:nvPr/>
          </p:nvSpPr>
          <p:spPr>
            <a:xfrm rot="18010104">
              <a:off x="378265" y="2594155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6" name="Freihandform: Form 14">
              <a:extLst>
                <a:ext uri="{FF2B5EF4-FFF2-40B4-BE49-F238E27FC236}">
                  <a16:creationId xmlns:a16="http://schemas.microsoft.com/office/drawing/2014/main" id="{B72B6ACC-A6A3-594C-BF27-6F090A25ED3D}"/>
                </a:ext>
              </a:extLst>
            </p:cNvPr>
            <p:cNvSpPr/>
            <p:nvPr/>
          </p:nvSpPr>
          <p:spPr>
            <a:xfrm rot="18010104">
              <a:off x="2838863" y="1003645"/>
              <a:ext cx="41622" cy="41622"/>
            </a:xfrm>
            <a:custGeom>
              <a:avLst/>
              <a:gdLst>
                <a:gd name="connsiteX0" fmla="*/ 41623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3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3" y="20811"/>
                  </a:moveTo>
                  <a:cubicBezTo>
                    <a:pt x="41623" y="32703"/>
                    <a:pt x="31960" y="41623"/>
                    <a:pt x="20811" y="41623"/>
                  </a:cubicBezTo>
                  <a:cubicBezTo>
                    <a:pt x="9662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3" y="9662"/>
                    <a:pt x="41623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7" name="Freihandform: Form 15">
              <a:extLst>
                <a:ext uri="{FF2B5EF4-FFF2-40B4-BE49-F238E27FC236}">
                  <a16:creationId xmlns:a16="http://schemas.microsoft.com/office/drawing/2014/main" id="{CCA41486-370F-A746-BE23-06EB8E060578}"/>
                </a:ext>
              </a:extLst>
            </p:cNvPr>
            <p:cNvSpPr/>
            <p:nvPr/>
          </p:nvSpPr>
          <p:spPr>
            <a:xfrm rot="18010104">
              <a:off x="779475" y="5259982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8" name="Freihandform: Form 16">
              <a:extLst>
                <a:ext uri="{FF2B5EF4-FFF2-40B4-BE49-F238E27FC236}">
                  <a16:creationId xmlns:a16="http://schemas.microsoft.com/office/drawing/2014/main" id="{B02E3FE5-7F96-B64A-B727-BD2DDF8F9033}"/>
                </a:ext>
              </a:extLst>
            </p:cNvPr>
            <p:cNvSpPr/>
            <p:nvPr/>
          </p:nvSpPr>
          <p:spPr>
            <a:xfrm rot="18010104">
              <a:off x="2305919" y="4441256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Grafik 18" descr="Ein Bild, das Stern enthält.&#10;&#10;Automatisch generierte Beschreibung">
            <a:extLst>
              <a:ext uri="{FF2B5EF4-FFF2-40B4-BE49-F238E27FC236}">
                <a16:creationId xmlns:a16="http://schemas.microsoft.com/office/drawing/2014/main" id="{71EA36E8-27E7-A644-88CA-F941B23D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424227" flipH="1">
            <a:off x="5878827" y="686074"/>
            <a:ext cx="5085041" cy="5395150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047209BC-8910-12E7-E931-5EF9FCEDA6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0863244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29A6FFAD-C17A-B4E8-240B-C605DA2738EB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lvl="0"/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576255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105A39F4-7879-051D-D290-7D67556CD64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4050384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5" name="cdtTextBox 12 Id17">
            <a:extLst>
              <a:ext uri="{FF2B5EF4-FFF2-40B4-BE49-F238E27FC236}">
                <a16:creationId xmlns:a16="http://schemas.microsoft.com/office/drawing/2014/main" id="{526C96B7-60B7-572F-8AD3-10B278122B9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065952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964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191B663D-EB23-0030-5927-D2A621F0D5B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949886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337D0F63-7F1D-A760-F2D6-88595457ADB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425929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A7065-E898-3D86-122B-3A0012F5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D5BC4A-23E7-770F-F451-D1A80C1C7E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91C1A6-E5E1-BA00-624B-4935D0C22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7B4AA2-6AD3-7827-5D05-54AFFE24C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972346-1CD4-80C1-F481-BB0143750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7298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y Presentation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C919E97D-D0D7-4452-9AE1-B53A83705AE1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72460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y Presentation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1165FF04-33A4-4A92-BC1A-FEE8C6CECB0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804410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698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F87BD5C2-034E-A753-E4B7-51E21D4CC87F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890304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pril 2020</a:t>
            </a: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14" name="License statement">
            <a:extLst>
              <a:ext uri="{FF2B5EF4-FFF2-40B4-BE49-F238E27FC236}">
                <a16:creationId xmlns:a16="http://schemas.microsoft.com/office/drawing/2014/main" id="{B7CADBCA-4DE1-404E-BF7C-ADF2A140AC0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487C015F-913C-48DD-99E5-F1AEE0B2AC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7" name="cdtTextBox 12 Id17">
            <a:extLst>
              <a:ext uri="{FF2B5EF4-FFF2-40B4-BE49-F238E27FC236}">
                <a16:creationId xmlns:a16="http://schemas.microsoft.com/office/drawing/2014/main" id="{67209329-0579-9CF0-5D03-2F136BDE06E1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091369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able</a:t>
            </a: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707EC8F-0BAC-4C6F-976E-7D5099EDD6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3ED05DC8-5BA8-F1AB-4459-54BD60183B1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318960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173928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17148863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39809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6771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D3545-5C75-6F5B-C1A2-BAC98A6C07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3BF0A6-46D4-64AB-7C3C-51F95EC442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1E5E7-6620-0C11-2C34-13B16E3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9FECCD-E774-4F4F-229F-E099945E8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712D9B-30E3-12D4-D9B8-03918DC3F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0615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18244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5489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26B59EE3-28D9-4EE0-A21D-F6EDC9D80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9029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  <a:endParaRPr lang="de-DE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EBA0E649-FA98-403D-8591-5907B15C57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015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6151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3432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1894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55300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94156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19631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FAA79-316A-5F48-CE86-859E3143F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D0D66A-37A8-601D-6F8C-C24D29533C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BAE137-87DF-00FE-ED55-79CCA90BAD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A7A3B6-DEDD-758B-DDE9-49D6CEC9F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D5C36A-2D27-73BA-39D0-A3FE3AEEB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7FDDC6-48C5-17F8-C9F4-B5D8D8B76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2830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14679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4573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0266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36930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7826ABC-B0B5-42A8-83E0-A64A285DEA00}"/>
              </a:ext>
            </a:extLst>
          </p:cNvPr>
          <p:cNvSpPr/>
          <p:nvPr userDrawn="1"/>
        </p:nvSpPr>
        <p:spPr>
          <a:xfrm>
            <a:off x="0" y="0"/>
            <a:ext cx="1219199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F4D9CAD-7F61-4294-814A-11977ED4F4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4" name="cdtTextBox 12 Id17">
            <a:extLst>
              <a:ext uri="{FF2B5EF4-FFF2-40B4-BE49-F238E27FC236}">
                <a16:creationId xmlns:a16="http://schemas.microsoft.com/office/drawing/2014/main" id="{69265B20-91D0-12DB-D37A-5BA8C42C5F1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681948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2AB47C1C-02B6-4AFE-AFEB-106EF1B582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2" name="cdtTextBox 12 Id17">
            <a:extLst>
              <a:ext uri="{FF2B5EF4-FFF2-40B4-BE49-F238E27FC236}">
                <a16:creationId xmlns:a16="http://schemas.microsoft.com/office/drawing/2014/main" id="{C2845D84-04B6-CA0F-B759-CD49AE33EB0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510213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FE7FA8-1217-4A54-AB03-6D45560D6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069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44" imgH="443" progId="TCLayout.ActiveDocument.1">
                  <p:embed/>
                </p:oleObj>
              </mc:Choice>
              <mc:Fallback>
                <p:oleObj name="think-cell Folie" r:id="rId5" imgW="444" imgH="44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FE7FA8-1217-4A54-AB03-6D45560D6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4935157-AA5E-4794-8AD4-0C9B740F5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D3C2AC4-2275-4AEE-9B2C-6C2589DB381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6" name="cdtTextBox 12 Id17">
            <a:extLst>
              <a:ext uri="{FF2B5EF4-FFF2-40B4-BE49-F238E27FC236}">
                <a16:creationId xmlns:a16="http://schemas.microsoft.com/office/drawing/2014/main" id="{245CFB13-F47D-2E37-5611-A5B0D49D38D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390221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36403A9-DD55-4A7C-B5D5-FBC5E48F3E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7" name="cdtTextBox 12 Id17">
            <a:extLst>
              <a:ext uri="{FF2B5EF4-FFF2-40B4-BE49-F238E27FC236}">
                <a16:creationId xmlns:a16="http://schemas.microsoft.com/office/drawing/2014/main" id="{47B86446-6B43-D5E9-B1CB-7F0D8367DED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>
                <a:solidFill>
                  <a:schemeClr val="bg1"/>
                </a:solidFill>
              </a:rPr>
              <a:t>Large-scale Heat Pump | Page </a:t>
            </a:r>
            <a:fld id="{91E7552C-A157-4A4F-8E99-698C0325FC94}" type="slidenum">
              <a:rPr lang="en-US" noProof="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>
              <a:solidFill>
                <a:schemeClr val="bg1"/>
              </a:solidFill>
            </a:endParaRPr>
          </a:p>
          <a:p>
            <a:pPr lvl="0"/>
            <a:r>
              <a:rPr lang="en-US" noProof="0">
                <a:solidFill>
                  <a:schemeClr val="bg1"/>
                </a:solidFill>
              </a:rPr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687967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7ED97CA-7854-4C4E-9575-C33766B3785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4E9EFD03-D2DB-75C9-C4AB-28E522D5A8D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447855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July 2023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BEDF5B97-0427-4D3E-9979-BA37989D4D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0070904B-7D03-6E51-3AA6-DA1CA65F775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99342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9396C-708E-5CF1-FF97-29AFDEE02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6B6AA6-9FD8-7466-9232-B816EE7B51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DE7F05-54D0-E000-55B0-8994DB8A2A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C5A973-073A-FC0F-C9B1-0370710393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4BC7E8D-D757-429D-4BCD-661AA89670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CEC201-AC47-AE59-B904-19B47399C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89E200-DB26-F4BB-3D93-A9A7064D8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BCA7C8-7BF2-CE71-659B-C9744AB29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0866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3</a:t>
            </a:r>
          </a:p>
        </p:txBody>
      </p:sp>
      <p:sp>
        <p:nvSpPr>
          <p:cNvPr id="3" name="cdtTextBox 12 Id17">
            <a:extLst>
              <a:ext uri="{FF2B5EF4-FFF2-40B4-BE49-F238E27FC236}">
                <a16:creationId xmlns:a16="http://schemas.microsoft.com/office/drawing/2014/main" id="{EBF51F12-AF8D-E669-6D47-74C26E14FC0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2999848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err="1">
                <a:solidFill>
                  <a:schemeClr val="accent6"/>
                </a:solidFill>
              </a:rPr>
              <a:t>Siemergy</a:t>
            </a:r>
            <a:r>
              <a:rPr lang="en-US" sz="1000" b="0" noProof="0">
                <a:solidFill>
                  <a:schemeClr val="accent6"/>
                </a:solidFill>
              </a:rPr>
              <a:t> is a trademark licensed by Siemens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0733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CDE40B-1D31-476C-831F-111D92E62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1BCDFF5-2CF1-4E74-92F5-73E1E97ADE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7389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114433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41254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6735" y="1412874"/>
            <a:ext cx="11082916" cy="215394"/>
          </a:xfrm>
        </p:spPr>
        <p:txBody>
          <a:bodyPr/>
          <a:lstStyle>
            <a:lvl1pPr marL="0" indent="0">
              <a:defRPr/>
            </a:lvl1pPr>
            <a:lvl2pPr marL="155497" indent="-155497">
              <a:defRPr/>
            </a:lvl2pPr>
            <a:lvl3pPr marL="310994" indent="-155497">
              <a:defRPr/>
            </a:lvl3pPr>
            <a:lvl4pPr marL="466492" indent="-155497">
              <a:defRPr/>
            </a:lvl4pPr>
            <a:lvl5pPr marL="621989" indent="-155497"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48022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picture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C8378F81-9ABB-49E0-93C4-2E646FED82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106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18" name="Objekt 17" hidden="1">
                        <a:extLst>
                          <a:ext uri="{FF2B5EF4-FFF2-40B4-BE49-F238E27FC236}">
                            <a16:creationId xmlns:a16="http://schemas.microsoft.com/office/drawing/2014/main" id="{C8378F81-9ABB-49E0-93C4-2E646FED8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FB1CA9FD-0D17-469E-9F39-771678A156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398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grpSp>
        <p:nvGrpSpPr>
          <p:cNvPr id="61" name="Gruppieren 3">
            <a:extLst>
              <a:ext uri="{FF2B5EF4-FFF2-40B4-BE49-F238E27FC236}">
                <a16:creationId xmlns:a16="http://schemas.microsoft.com/office/drawing/2014/main" id="{04EABD9C-FD7F-4E1B-A26F-1860F5CCFA6B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2" name="Gerade Verbindung 2">
              <a:extLst>
                <a:ext uri="{FF2B5EF4-FFF2-40B4-BE49-F238E27FC236}">
                  <a16:creationId xmlns:a16="http://schemas.microsoft.com/office/drawing/2014/main" id="{89A05FB9-9C1D-48BE-A30B-AE726E89CA2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5">
              <a:extLst>
                <a:ext uri="{FF2B5EF4-FFF2-40B4-BE49-F238E27FC236}">
                  <a16:creationId xmlns:a16="http://schemas.microsoft.com/office/drawing/2014/main" id="{CD7E19C4-66AC-48C4-AA80-40E0CAEA705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6">
              <a:extLst>
                <a:ext uri="{FF2B5EF4-FFF2-40B4-BE49-F238E27FC236}">
                  <a16:creationId xmlns:a16="http://schemas.microsoft.com/office/drawing/2014/main" id="{1F8D502F-F585-44EC-9165-7E4989A4941B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37">
              <a:extLst>
                <a:ext uri="{FF2B5EF4-FFF2-40B4-BE49-F238E27FC236}">
                  <a16:creationId xmlns:a16="http://schemas.microsoft.com/office/drawing/2014/main" id="{8919F27D-E1AD-4B70-B1A9-C5D62391667E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38">
              <a:extLst>
                <a:ext uri="{FF2B5EF4-FFF2-40B4-BE49-F238E27FC236}">
                  <a16:creationId xmlns:a16="http://schemas.microsoft.com/office/drawing/2014/main" id="{7224577A-FD9D-490E-9D59-F07FC258503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39">
              <a:extLst>
                <a:ext uri="{FF2B5EF4-FFF2-40B4-BE49-F238E27FC236}">
                  <a16:creationId xmlns:a16="http://schemas.microsoft.com/office/drawing/2014/main" id="{3B819D76-3AB9-4DB5-BDAE-12BE077A342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1">
              <a:extLst>
                <a:ext uri="{FF2B5EF4-FFF2-40B4-BE49-F238E27FC236}">
                  <a16:creationId xmlns:a16="http://schemas.microsoft.com/office/drawing/2014/main" id="{944C8788-AA70-4639-91F5-FE8B6D3732AE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2">
              <a:extLst>
                <a:ext uri="{FF2B5EF4-FFF2-40B4-BE49-F238E27FC236}">
                  <a16:creationId xmlns:a16="http://schemas.microsoft.com/office/drawing/2014/main" id="{D3831BF4-3205-42B3-AF79-AF6053084FAA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3">
              <a:extLst>
                <a:ext uri="{FF2B5EF4-FFF2-40B4-BE49-F238E27FC236}">
                  <a16:creationId xmlns:a16="http://schemas.microsoft.com/office/drawing/2014/main" id="{1A30A93B-A96D-4CA1-82FD-CD2BDBF216B1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4">
              <a:extLst>
                <a:ext uri="{FF2B5EF4-FFF2-40B4-BE49-F238E27FC236}">
                  <a16:creationId xmlns:a16="http://schemas.microsoft.com/office/drawing/2014/main" id="{85923125-603F-45DC-A3D9-8DC192432A7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1">
              <a:extLst>
                <a:ext uri="{FF2B5EF4-FFF2-40B4-BE49-F238E27FC236}">
                  <a16:creationId xmlns:a16="http://schemas.microsoft.com/office/drawing/2014/main" id="{596F906A-ADD4-4935-8D2E-5B9DA9624FFE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2">
              <a:extLst>
                <a:ext uri="{FF2B5EF4-FFF2-40B4-BE49-F238E27FC236}">
                  <a16:creationId xmlns:a16="http://schemas.microsoft.com/office/drawing/2014/main" id="{05A8CCF4-8B47-4E2A-A03D-BE93229CA5C2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3">
              <a:extLst>
                <a:ext uri="{FF2B5EF4-FFF2-40B4-BE49-F238E27FC236}">
                  <a16:creationId xmlns:a16="http://schemas.microsoft.com/office/drawing/2014/main" id="{ABB955C0-897C-4617-80E5-983281766BB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4">
              <a:extLst>
                <a:ext uri="{FF2B5EF4-FFF2-40B4-BE49-F238E27FC236}">
                  <a16:creationId xmlns:a16="http://schemas.microsoft.com/office/drawing/2014/main" id="{40AB260C-D855-410C-ABB0-80551FF41488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5">
              <a:extLst>
                <a:ext uri="{FF2B5EF4-FFF2-40B4-BE49-F238E27FC236}">
                  <a16:creationId xmlns:a16="http://schemas.microsoft.com/office/drawing/2014/main" id="{D0E02354-0236-4A5B-8C26-E6C35801A4BB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6">
              <a:extLst>
                <a:ext uri="{FF2B5EF4-FFF2-40B4-BE49-F238E27FC236}">
                  <a16:creationId xmlns:a16="http://schemas.microsoft.com/office/drawing/2014/main" id="{32825872-4231-4C63-BE9D-A3166D908840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8">
              <a:extLst>
                <a:ext uri="{FF2B5EF4-FFF2-40B4-BE49-F238E27FC236}">
                  <a16:creationId xmlns:a16="http://schemas.microsoft.com/office/drawing/2014/main" id="{94A02465-CC19-4196-84D8-1C645C8BF7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59">
              <a:extLst>
                <a:ext uri="{FF2B5EF4-FFF2-40B4-BE49-F238E27FC236}">
                  <a16:creationId xmlns:a16="http://schemas.microsoft.com/office/drawing/2014/main" id="{D0484987-DAA1-40F0-993E-1014D9E53461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0">
              <a:extLst>
                <a:ext uri="{FF2B5EF4-FFF2-40B4-BE49-F238E27FC236}">
                  <a16:creationId xmlns:a16="http://schemas.microsoft.com/office/drawing/2014/main" id="{D4D522F4-06F6-4F2F-BAF6-00C182BBE778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61">
              <a:extLst>
                <a:ext uri="{FF2B5EF4-FFF2-40B4-BE49-F238E27FC236}">
                  <a16:creationId xmlns:a16="http://schemas.microsoft.com/office/drawing/2014/main" id="{D848176A-D719-42C8-9EDF-763969EA2B12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6" name="Logo">
            <a:extLst>
              <a:ext uri="{FF2B5EF4-FFF2-40B4-BE49-F238E27FC236}">
                <a16:creationId xmlns:a16="http://schemas.microsoft.com/office/drawing/2014/main" id="{0EED71DA-7B8C-4115-8C79-D4C366DF72A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  <a:solidFill>
            <a:srgbClr val="9B8F7F">
              <a:alpha val="55000"/>
            </a:srgbClr>
          </a:solidFill>
        </p:spPr>
      </p:pic>
    </p:spTree>
    <p:extLst>
      <p:ext uri="{BB962C8B-B14F-4D97-AF65-F5344CB8AC3E}">
        <p14:creationId xmlns:p14="http://schemas.microsoft.com/office/powerpoint/2010/main" val="214276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D60F3-5604-E3BD-9A79-B2CFB0FAF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ED552A-6437-0446-16E6-10CAA25D7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3B3E21-2C8B-DD4E-030B-626BF2084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2DBECC-4DA9-7A41-90E3-520E954D9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06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6110BA-BE98-AC35-D81F-9A9DCCCD2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EED7F7-2FCE-CAA7-8C34-96AEC24D5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B7A3DE-3550-AC58-327F-CC309E33E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906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538B97-4198-8D49-8338-41474D26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E3C4ED-5A25-7DBA-09E5-A4706E30A2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764AD3-59F8-8F34-1EAE-7F99283303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EE7B8D-07D9-1A24-7C8E-6718A7E7B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50C43B-A027-14A7-4520-7FD8CAEE6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F4BB5B-3922-AAE6-17ED-22EDC66FB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904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77F18-5538-4D71-8CEB-27EDDD040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60382-4716-B022-975E-28D4F00582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C447CA-9CD5-6930-DB49-8EBFDC79BA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8F7D74-A68C-479F-A2FD-003F77C50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BE142F-2CD9-8DC2-2AF7-F8025E5E3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E55218-7A91-E915-3A9F-38F60A0AD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511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tags" Target="../tags/tag3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tags" Target="../tags/tag4.xml"/><Relationship Id="rId8" Type="http://schemas.openxmlformats.org/officeDocument/2006/relationships/slideLayout" Target="../slideLayouts/slideLayout19.xml"/><Relationship Id="rId51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11BA7-C150-9992-CD77-748EC3D64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E746D1-E83F-C4E7-D50D-2411340CA0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D44D52-D0A5-EDD7-7035-CE8500311A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1A8D68-3134-4CFF-B5C7-523A429E5731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4EF2B0-E9E3-160A-BE3A-279F51EED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EFA39-EC2A-BA86-3674-5D58D9857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A3CB04-2773-4CAA-AC88-2AA02C4624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272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E3325E-C111-422A-B953-F8F21788D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479436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9" imgW="306" imgH="306" progId="TCLayout.ActiveDocument.1">
                  <p:embed/>
                </p:oleObj>
              </mc:Choice>
              <mc:Fallback>
                <p:oleObj name="think-cell Folie" r:id="rId49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E3325E-C111-422A-B953-F8F21788D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46AE2A-3641-4D5E-A640-4148F7D3DA5E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2902224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noProof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ctr"/>
            <a:endParaRPr lang="en-US" sz="1000" b="0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885948" y="6526800"/>
            <a:ext cx="6289436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</a:t>
            </a:r>
            <a:endParaRPr lang="en-US" sz="1000" b="0" noProof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9534503E-6F38-4CAC-94E4-107385AE3856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13" name="cdtTextBox 11 Id18">
            <a:extLst>
              <a:ext uri="{FF2B5EF4-FFF2-40B4-BE49-F238E27FC236}">
                <a16:creationId xmlns:a16="http://schemas.microsoft.com/office/drawing/2014/main" id="{1F048232-910F-417E-ADE0-62C5C8DB7C5F}"/>
              </a:ext>
            </a:extLst>
          </p:cNvPr>
          <p:cNvSpPr txBox="1"/>
          <p:nvPr userDrawn="1">
            <p:custDataLst>
              <p:tags r:id="rId47"/>
            </p:custDataLst>
          </p:nvPr>
        </p:nvSpPr>
        <p:spPr>
          <a:xfrm>
            <a:off x="-196985" y="6526800"/>
            <a:ext cx="1606686" cy="29229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lvl="0"/>
            <a:fld id="{CEF11390-62E6-4520-882C-4CF0FAB8ECE5}" type="datetime6">
              <a:rPr lang="en-US" noProof="0" smtClean="0"/>
              <a:t>November 23</a:t>
            </a:fld>
            <a:endParaRPr lang="en-US" noProof="0"/>
          </a:p>
        </p:txBody>
      </p:sp>
      <p:sp>
        <p:nvSpPr>
          <p:cNvPr id="15" name="cdtTextBox 12 Id17">
            <a:extLst>
              <a:ext uri="{FF2B5EF4-FFF2-40B4-BE49-F238E27FC236}">
                <a16:creationId xmlns:a16="http://schemas.microsoft.com/office/drawing/2014/main" id="{EBC4F222-D709-4CFC-8338-47C9C26E843E}"/>
              </a:ext>
            </a:extLst>
          </p:cNvPr>
          <p:cNvSpPr txBox="1"/>
          <p:nvPr userDrawn="1">
            <p:custDataLst>
              <p:tags r:id="rId48"/>
            </p:custDataLst>
          </p:nvPr>
        </p:nvSpPr>
        <p:spPr>
          <a:xfrm>
            <a:off x="9512300" y="6356780"/>
            <a:ext cx="3019186" cy="33562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>
            <a:defPPr>
              <a:defRPr lang="de-DE"/>
            </a:defPPr>
            <a:lvl1pPr>
              <a:defRPr sz="10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Large-scale Heat Pump | Page </a:t>
            </a:r>
            <a:fld id="{91E7552C-A157-4A4F-8E99-698C0325FC94}" type="slidenum">
              <a:rPr lang="en-US" noProof="0" smtClean="0"/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noProof="0"/>
          </a:p>
          <a:p>
            <a:pPr lvl="0"/>
            <a:r>
              <a:rPr lang="en-US" noProof="0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30254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5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" name="Freihandform: Form 971">
            <a:extLst>
              <a:ext uri="{FF2B5EF4-FFF2-40B4-BE49-F238E27FC236}">
                <a16:creationId xmlns:a16="http://schemas.microsoft.com/office/drawing/2014/main" id="{72B886DE-7CCA-C489-AF02-DE88D7AF23B9}"/>
              </a:ext>
            </a:extLst>
          </p:cNvPr>
          <p:cNvSpPr/>
          <p:nvPr/>
        </p:nvSpPr>
        <p:spPr bwMode="auto">
          <a:xfrm rot="16200000" flipH="1">
            <a:off x="3385128" y="2334323"/>
            <a:ext cx="192299" cy="1160305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none"/>
            <a:tailEnd type="none"/>
          </a:ln>
          <a:effectLst/>
        </p:spPr>
        <p:txBody>
          <a:bodyPr rtlCol="0" anchor="ctr"/>
          <a:lstStyle/>
          <a:p>
            <a:pPr algn="ctr" defTabSz="913943">
              <a:defRPr/>
            </a:pPr>
            <a:endParaRPr lang="en-US" sz="3198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84" name="Freihandform: Form 983">
            <a:extLst>
              <a:ext uri="{FF2B5EF4-FFF2-40B4-BE49-F238E27FC236}">
                <a16:creationId xmlns:a16="http://schemas.microsoft.com/office/drawing/2014/main" id="{5EB48F69-EDE0-68B7-041D-2E4A8497CA29}"/>
              </a:ext>
            </a:extLst>
          </p:cNvPr>
          <p:cNvSpPr/>
          <p:nvPr/>
        </p:nvSpPr>
        <p:spPr bwMode="auto">
          <a:xfrm rot="5400000" flipH="1">
            <a:off x="3776998" y="2510641"/>
            <a:ext cx="198366" cy="1198331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none"/>
            <a:tailEnd type="none"/>
          </a:ln>
          <a:effectLst/>
        </p:spPr>
        <p:txBody>
          <a:bodyPr rtlCol="0" anchor="ctr"/>
          <a:lstStyle/>
          <a:p>
            <a:pPr algn="ctr" defTabSz="913943">
              <a:defRPr/>
            </a:pPr>
            <a:endParaRPr lang="en-US" sz="3198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629FD0D-689A-4232-931E-EBF77EF951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629FD0D-689A-4232-931E-EBF77EF95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173C244A-8EF7-EF01-96B0-A5E134565D2B}"/>
              </a:ext>
            </a:extLst>
          </p:cNvPr>
          <p:cNvSpPr/>
          <p:nvPr/>
        </p:nvSpPr>
        <p:spPr>
          <a:xfrm>
            <a:off x="3812349" y="2978944"/>
            <a:ext cx="100045" cy="496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5B6A0CFF-B8FB-4620-82D0-6BBEE428E9F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D3C847A-DCAF-4FEB-ABFA-E8B71B7C6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0983309" cy="1414800"/>
          </a:xfrm>
        </p:spPr>
        <p:txBody>
          <a:bodyPr vert="horz"/>
          <a:lstStyle/>
          <a:p>
            <a:r>
              <a:rPr lang="en-US"/>
              <a:t>*Customer* – Heat Pump + MVR use case</a:t>
            </a:r>
            <a:br>
              <a:rPr lang="en-US"/>
            </a:br>
            <a:r>
              <a:rPr lang="en-US" sz="1600"/>
              <a:t>Performance and price indication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7980D630-8272-B360-5EAA-1EAC4575D8DF}"/>
              </a:ext>
            </a:extLst>
          </p:cNvPr>
          <p:cNvSpPr/>
          <p:nvPr/>
        </p:nvSpPr>
        <p:spPr bwMode="auto">
          <a:xfrm rot="10800000" flipH="1">
            <a:off x="838453" y="5064706"/>
            <a:ext cx="1444058" cy="510187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29A3FF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/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3E58149F-3024-4AA1-0CDA-916620A68DEB}"/>
              </a:ext>
            </a:extLst>
          </p:cNvPr>
          <p:cNvSpPr/>
          <p:nvPr/>
        </p:nvSpPr>
        <p:spPr bwMode="auto">
          <a:xfrm flipH="1">
            <a:off x="2460379" y="3257763"/>
            <a:ext cx="1241946" cy="645636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>
              <a:defRPr/>
            </a:pPr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450FF248-4C28-7579-4450-5D55E6A01669}"/>
              </a:ext>
            </a:extLst>
          </p:cNvPr>
          <p:cNvSpPr/>
          <p:nvPr/>
        </p:nvSpPr>
        <p:spPr bwMode="auto">
          <a:xfrm rot="16200000" flipH="1">
            <a:off x="4013418" y="3695043"/>
            <a:ext cx="338048" cy="3421653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F8923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486"/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9DCA8B7F-AD1A-5EE9-58B5-F6F6B485FE21}"/>
              </a:ext>
            </a:extLst>
          </p:cNvPr>
          <p:cNvSpPr/>
          <p:nvPr/>
        </p:nvSpPr>
        <p:spPr bwMode="auto">
          <a:xfrm>
            <a:off x="752198" y="3263909"/>
            <a:ext cx="1522904" cy="581473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sm"/>
            <a:tailEnd type="triangle" w="med" len="med"/>
          </a:ln>
          <a:effectLst/>
        </p:spPr>
        <p:txBody>
          <a:bodyPr rtlCol="0" anchor="ctr"/>
          <a:lstStyle/>
          <a:p>
            <a:pPr algn="ctr" defTabSz="913486"/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322D216-3AE9-C192-D27E-0D530269684E}"/>
              </a:ext>
            </a:extLst>
          </p:cNvPr>
          <p:cNvCxnSpPr>
            <a:cxnSpLocks/>
          </p:cNvCxnSpPr>
          <p:nvPr/>
        </p:nvCxnSpPr>
        <p:spPr>
          <a:xfrm>
            <a:off x="3365564" y="4534840"/>
            <a:ext cx="117531" cy="30"/>
          </a:xfrm>
          <a:prstGeom prst="line">
            <a:avLst/>
          </a:prstGeom>
          <a:ln w="63500" cmpd="dbl">
            <a:solidFill>
              <a:srgbClr val="1E1F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afik 1120">
            <a:extLst>
              <a:ext uri="{FF2B5EF4-FFF2-40B4-BE49-F238E27FC236}">
                <a16:creationId xmlns:a16="http://schemas.microsoft.com/office/drawing/2014/main" id="{1ABF4D13-BEB6-12AD-5D3F-B4BAA92EE1D1}"/>
              </a:ext>
            </a:extLst>
          </p:cNvPr>
          <p:cNvGrpSpPr/>
          <p:nvPr/>
        </p:nvGrpSpPr>
        <p:grpSpPr>
          <a:xfrm>
            <a:off x="1793976" y="4145867"/>
            <a:ext cx="1232924" cy="827648"/>
            <a:chOff x="5369863" y="2689274"/>
            <a:chExt cx="638651" cy="428720"/>
          </a:xfrm>
          <a:solidFill>
            <a:srgbClr val="000000"/>
          </a:solidFill>
        </p:grpSpPr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994EDA5-E69A-A2A4-484F-2876AADFED0D}"/>
                </a:ext>
              </a:extLst>
            </p:cNvPr>
            <p:cNvSpPr/>
            <p:nvPr/>
          </p:nvSpPr>
          <p:spPr>
            <a:xfrm>
              <a:off x="5488925" y="2996932"/>
              <a:ext cx="13049" cy="3333"/>
            </a:xfrm>
            <a:custGeom>
              <a:avLst/>
              <a:gdLst>
                <a:gd name="connsiteX0" fmla="*/ 13049 w 13049"/>
                <a:gd name="connsiteY0" fmla="*/ 3334 h 3333"/>
                <a:gd name="connsiteX1" fmla="*/ 13049 w 13049"/>
                <a:gd name="connsiteY1" fmla="*/ 0 h 3333"/>
                <a:gd name="connsiteX2" fmla="*/ 0 w 13049"/>
                <a:gd name="connsiteY2" fmla="*/ 0 h 3333"/>
                <a:gd name="connsiteX3" fmla="*/ 0 w 13049"/>
                <a:gd name="connsiteY3" fmla="*/ 3334 h 3333"/>
                <a:gd name="connsiteX4" fmla="*/ 13049 w 13049"/>
                <a:gd name="connsiteY4" fmla="*/ 3334 h 3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333">
                  <a:moveTo>
                    <a:pt x="13049" y="3334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334"/>
                  </a:lnTo>
                  <a:lnTo>
                    <a:pt x="13049" y="333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9744CFB-274D-5508-0F2B-393F770AFB12}"/>
                </a:ext>
              </a:extLst>
            </p:cNvPr>
            <p:cNvSpPr/>
            <p:nvPr/>
          </p:nvSpPr>
          <p:spPr>
            <a:xfrm>
              <a:off x="5501213" y="3044652"/>
              <a:ext cx="13525" cy="31527"/>
            </a:xfrm>
            <a:custGeom>
              <a:avLst/>
              <a:gdLst>
                <a:gd name="connsiteX0" fmla="*/ 13526 w 13525"/>
                <a:gd name="connsiteY0" fmla="*/ 31528 h 31527"/>
                <a:gd name="connsiteX1" fmla="*/ 13526 w 13525"/>
                <a:gd name="connsiteY1" fmla="*/ 0 h 31527"/>
                <a:gd name="connsiteX2" fmla="*/ 0 w 13525"/>
                <a:gd name="connsiteY2" fmla="*/ 0 h 31527"/>
                <a:gd name="connsiteX3" fmla="*/ 0 w 13525"/>
                <a:gd name="connsiteY3" fmla="*/ 31528 h 31527"/>
                <a:gd name="connsiteX4" fmla="*/ 13526 w 13525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25" h="31527">
                  <a:moveTo>
                    <a:pt x="13526" y="31528"/>
                  </a:moveTo>
                  <a:lnTo>
                    <a:pt x="13526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13526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50227C33-8930-74C8-34D9-869909E43580}"/>
                </a:ext>
              </a:extLst>
            </p:cNvPr>
            <p:cNvSpPr/>
            <p:nvPr/>
          </p:nvSpPr>
          <p:spPr>
            <a:xfrm>
              <a:off x="5495403" y="3049224"/>
              <a:ext cx="8000" cy="22383"/>
            </a:xfrm>
            <a:custGeom>
              <a:avLst/>
              <a:gdLst>
                <a:gd name="connsiteX0" fmla="*/ 6001 w 8000"/>
                <a:gd name="connsiteY0" fmla="*/ 22384 h 22383"/>
                <a:gd name="connsiteX1" fmla="*/ 8001 w 8000"/>
                <a:gd name="connsiteY1" fmla="*/ 20383 h 22383"/>
                <a:gd name="connsiteX2" fmla="*/ 8001 w 8000"/>
                <a:gd name="connsiteY2" fmla="*/ 2000 h 22383"/>
                <a:gd name="connsiteX3" fmla="*/ 6001 w 8000"/>
                <a:gd name="connsiteY3" fmla="*/ 0 h 22383"/>
                <a:gd name="connsiteX4" fmla="*/ 2000 w 8000"/>
                <a:gd name="connsiteY4" fmla="*/ 0 h 22383"/>
                <a:gd name="connsiteX5" fmla="*/ 0 w 8000"/>
                <a:gd name="connsiteY5" fmla="*/ 2000 h 22383"/>
                <a:gd name="connsiteX6" fmla="*/ 0 w 8000"/>
                <a:gd name="connsiteY6" fmla="*/ 20383 h 22383"/>
                <a:gd name="connsiteX7" fmla="*/ 2000 w 8000"/>
                <a:gd name="connsiteY7" fmla="*/ 22384 h 22383"/>
                <a:gd name="connsiteX8" fmla="*/ 6001 w 8000"/>
                <a:gd name="connsiteY8" fmla="*/ 22384 h 22383"/>
                <a:gd name="connsiteX9" fmla="*/ 6001 w 8000"/>
                <a:gd name="connsiteY9" fmla="*/ 22384 h 2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00" h="22383">
                  <a:moveTo>
                    <a:pt x="6001" y="22384"/>
                  </a:moveTo>
                  <a:cubicBezTo>
                    <a:pt x="7144" y="22384"/>
                    <a:pt x="8001" y="21526"/>
                    <a:pt x="8001" y="20383"/>
                  </a:cubicBezTo>
                  <a:lnTo>
                    <a:pt x="8001" y="2000"/>
                  </a:lnTo>
                  <a:cubicBezTo>
                    <a:pt x="8001" y="857"/>
                    <a:pt x="7144" y="0"/>
                    <a:pt x="6001" y="0"/>
                  </a:cubicBezTo>
                  <a:lnTo>
                    <a:pt x="2000" y="0"/>
                  </a:lnTo>
                  <a:cubicBezTo>
                    <a:pt x="857" y="0"/>
                    <a:pt x="0" y="857"/>
                    <a:pt x="0" y="2000"/>
                  </a:cubicBezTo>
                  <a:lnTo>
                    <a:pt x="0" y="20383"/>
                  </a:lnTo>
                  <a:cubicBezTo>
                    <a:pt x="0" y="21526"/>
                    <a:pt x="857" y="22384"/>
                    <a:pt x="2000" y="22384"/>
                  </a:cubicBezTo>
                  <a:lnTo>
                    <a:pt x="6001" y="22384"/>
                  </a:lnTo>
                  <a:lnTo>
                    <a:pt x="6001" y="2238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7384BE1-412D-3ABF-DB17-40BFFF256909}"/>
                </a:ext>
              </a:extLst>
            </p:cNvPr>
            <p:cNvSpPr/>
            <p:nvPr/>
          </p:nvSpPr>
          <p:spPr>
            <a:xfrm>
              <a:off x="5988893" y="2934638"/>
              <a:ext cx="19621" cy="35909"/>
            </a:xfrm>
            <a:custGeom>
              <a:avLst/>
              <a:gdLst>
                <a:gd name="connsiteX0" fmla="*/ 19621 w 19621"/>
                <a:gd name="connsiteY0" fmla="*/ 35909 h 35909"/>
                <a:gd name="connsiteX1" fmla="*/ 19621 w 19621"/>
                <a:gd name="connsiteY1" fmla="*/ 0 h 35909"/>
                <a:gd name="connsiteX2" fmla="*/ 0 w 19621"/>
                <a:gd name="connsiteY2" fmla="*/ 0 h 35909"/>
                <a:gd name="connsiteX3" fmla="*/ 0 w 19621"/>
                <a:gd name="connsiteY3" fmla="*/ 35909 h 35909"/>
                <a:gd name="connsiteX4" fmla="*/ 19621 w 19621"/>
                <a:gd name="connsiteY4" fmla="*/ 35909 h 3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21" h="35909">
                  <a:moveTo>
                    <a:pt x="19621" y="35909"/>
                  </a:moveTo>
                  <a:lnTo>
                    <a:pt x="19621" y="0"/>
                  </a:lnTo>
                  <a:lnTo>
                    <a:pt x="0" y="0"/>
                  </a:lnTo>
                  <a:lnTo>
                    <a:pt x="0" y="35909"/>
                  </a:lnTo>
                  <a:lnTo>
                    <a:pt x="19621" y="35909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3653D68C-EE8D-4555-661E-3F772421B2C4}"/>
                </a:ext>
              </a:extLst>
            </p:cNvPr>
            <p:cNvSpPr/>
            <p:nvPr/>
          </p:nvSpPr>
          <p:spPr>
            <a:xfrm>
              <a:off x="5576746" y="2689274"/>
              <a:ext cx="366617" cy="143065"/>
            </a:xfrm>
            <a:custGeom>
              <a:avLst/>
              <a:gdLst>
                <a:gd name="connsiteX0" fmla="*/ 157067 w 366617"/>
                <a:gd name="connsiteY0" fmla="*/ 121253 h 143065"/>
                <a:gd name="connsiteX1" fmla="*/ 157067 w 366617"/>
                <a:gd name="connsiteY1" fmla="*/ 143066 h 143065"/>
                <a:gd name="connsiteX2" fmla="*/ 0 w 366617"/>
                <a:gd name="connsiteY2" fmla="*/ 143066 h 143065"/>
                <a:gd name="connsiteX3" fmla="*/ 0 w 366617"/>
                <a:gd name="connsiteY3" fmla="*/ 0 h 143065"/>
                <a:gd name="connsiteX4" fmla="*/ 157067 w 366617"/>
                <a:gd name="connsiteY4" fmla="*/ 0 h 143065"/>
                <a:gd name="connsiteX5" fmla="*/ 157067 w 366617"/>
                <a:gd name="connsiteY5" fmla="*/ 21336 h 143065"/>
                <a:gd name="connsiteX6" fmla="*/ 366617 w 366617"/>
                <a:gd name="connsiteY6" fmla="*/ 21336 h 143065"/>
                <a:gd name="connsiteX7" fmla="*/ 366617 w 366617"/>
                <a:gd name="connsiteY7" fmla="*/ 121253 h 143065"/>
                <a:gd name="connsiteX8" fmla="*/ 157067 w 366617"/>
                <a:gd name="connsiteY8" fmla="*/ 121253 h 143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6617" h="143065">
                  <a:moveTo>
                    <a:pt x="157067" y="121253"/>
                  </a:moveTo>
                  <a:lnTo>
                    <a:pt x="157067" y="143066"/>
                  </a:lnTo>
                  <a:lnTo>
                    <a:pt x="0" y="143066"/>
                  </a:lnTo>
                  <a:lnTo>
                    <a:pt x="0" y="0"/>
                  </a:lnTo>
                  <a:lnTo>
                    <a:pt x="157067" y="0"/>
                  </a:lnTo>
                  <a:lnTo>
                    <a:pt x="157067" y="21336"/>
                  </a:lnTo>
                  <a:lnTo>
                    <a:pt x="366617" y="21336"/>
                  </a:lnTo>
                  <a:lnTo>
                    <a:pt x="366617" y="121253"/>
                  </a:lnTo>
                  <a:lnTo>
                    <a:pt x="157067" y="121253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A0204CBA-E9F9-3C03-F913-CF0938FD93E9}"/>
                </a:ext>
              </a:extLst>
            </p:cNvPr>
            <p:cNvSpPr/>
            <p:nvPr/>
          </p:nvSpPr>
          <p:spPr>
            <a:xfrm>
              <a:off x="5446920" y="2911969"/>
              <a:ext cx="554354" cy="78866"/>
            </a:xfrm>
            <a:custGeom>
              <a:avLst/>
              <a:gdLst>
                <a:gd name="connsiteX0" fmla="*/ 534638 w 554354"/>
                <a:gd name="connsiteY0" fmla="*/ 78867 h 78866"/>
                <a:gd name="connsiteX1" fmla="*/ 554355 w 554354"/>
                <a:gd name="connsiteY1" fmla="*/ 59150 h 78866"/>
                <a:gd name="connsiteX2" fmla="*/ 554355 w 554354"/>
                <a:gd name="connsiteY2" fmla="*/ 19717 h 78866"/>
                <a:gd name="connsiteX3" fmla="*/ 534638 w 554354"/>
                <a:gd name="connsiteY3" fmla="*/ 0 h 78866"/>
                <a:gd name="connsiteX4" fmla="*/ 19717 w 554354"/>
                <a:gd name="connsiteY4" fmla="*/ 0 h 78866"/>
                <a:gd name="connsiteX5" fmla="*/ 0 w 554354"/>
                <a:gd name="connsiteY5" fmla="*/ 19717 h 78866"/>
                <a:gd name="connsiteX6" fmla="*/ 0 w 554354"/>
                <a:gd name="connsiteY6" fmla="*/ 59150 h 78866"/>
                <a:gd name="connsiteX7" fmla="*/ 19717 w 554354"/>
                <a:gd name="connsiteY7" fmla="*/ 78867 h 78866"/>
                <a:gd name="connsiteX8" fmla="*/ 534638 w 554354"/>
                <a:gd name="connsiteY8" fmla="*/ 78867 h 78866"/>
                <a:gd name="connsiteX9" fmla="*/ 534638 w 554354"/>
                <a:gd name="connsiteY9" fmla="*/ 78867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354" h="78866">
                  <a:moveTo>
                    <a:pt x="534638" y="78867"/>
                  </a:moveTo>
                  <a:cubicBezTo>
                    <a:pt x="545497" y="78867"/>
                    <a:pt x="554355" y="70009"/>
                    <a:pt x="554355" y="59150"/>
                  </a:cubicBezTo>
                  <a:lnTo>
                    <a:pt x="554355" y="19717"/>
                  </a:lnTo>
                  <a:cubicBezTo>
                    <a:pt x="554355" y="8858"/>
                    <a:pt x="545497" y="0"/>
                    <a:pt x="534638" y="0"/>
                  </a:cubicBezTo>
                  <a:lnTo>
                    <a:pt x="19717" y="0"/>
                  </a:lnTo>
                  <a:cubicBezTo>
                    <a:pt x="8858" y="0"/>
                    <a:pt x="0" y="8858"/>
                    <a:pt x="0" y="19717"/>
                  </a:cubicBezTo>
                  <a:lnTo>
                    <a:pt x="0" y="59150"/>
                  </a:lnTo>
                  <a:cubicBezTo>
                    <a:pt x="0" y="70009"/>
                    <a:pt x="8858" y="78867"/>
                    <a:pt x="19717" y="78867"/>
                  </a:cubicBezTo>
                  <a:lnTo>
                    <a:pt x="534638" y="78867"/>
                  </a:lnTo>
                  <a:lnTo>
                    <a:pt x="534638" y="7886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B1253A5A-D4D7-FA48-FFDB-9297A5564566}"/>
                </a:ext>
              </a:extLst>
            </p:cNvPr>
            <p:cNvSpPr/>
            <p:nvPr/>
          </p:nvSpPr>
          <p:spPr>
            <a:xfrm>
              <a:off x="5487401" y="2905778"/>
              <a:ext cx="16478" cy="92297"/>
            </a:xfrm>
            <a:custGeom>
              <a:avLst/>
              <a:gdLst>
                <a:gd name="connsiteX0" fmla="*/ 16478 w 16478"/>
                <a:gd name="connsiteY0" fmla="*/ 92297 h 92297"/>
                <a:gd name="connsiteX1" fmla="*/ 16478 w 16478"/>
                <a:gd name="connsiteY1" fmla="*/ 0 h 92297"/>
                <a:gd name="connsiteX2" fmla="*/ 0 w 16478"/>
                <a:gd name="connsiteY2" fmla="*/ 0 h 92297"/>
                <a:gd name="connsiteX3" fmla="*/ 0 w 16478"/>
                <a:gd name="connsiteY3" fmla="*/ 92297 h 92297"/>
                <a:gd name="connsiteX4" fmla="*/ 16478 w 16478"/>
                <a:gd name="connsiteY4" fmla="*/ 92297 h 9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78" h="92297">
                  <a:moveTo>
                    <a:pt x="16478" y="92297"/>
                  </a:moveTo>
                  <a:lnTo>
                    <a:pt x="16478" y="0"/>
                  </a:lnTo>
                  <a:lnTo>
                    <a:pt x="0" y="0"/>
                  </a:lnTo>
                  <a:lnTo>
                    <a:pt x="0" y="92297"/>
                  </a:lnTo>
                  <a:lnTo>
                    <a:pt x="16478" y="92297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82858DF5-9EE1-8144-7DC1-F3C9637E22A2}"/>
                </a:ext>
              </a:extLst>
            </p:cNvPr>
            <p:cNvSpPr/>
            <p:nvPr/>
          </p:nvSpPr>
          <p:spPr>
            <a:xfrm>
              <a:off x="5506547" y="3022459"/>
              <a:ext cx="470820" cy="66579"/>
            </a:xfrm>
            <a:custGeom>
              <a:avLst/>
              <a:gdLst>
                <a:gd name="connsiteX0" fmla="*/ 464725 w 470820"/>
                <a:gd name="connsiteY0" fmla="*/ 5715 h 66579"/>
                <a:gd name="connsiteX1" fmla="*/ 470821 w 470820"/>
                <a:gd name="connsiteY1" fmla="*/ 34004 h 66579"/>
                <a:gd name="connsiteX2" fmla="*/ 464725 w 470820"/>
                <a:gd name="connsiteY2" fmla="*/ 62293 h 66579"/>
                <a:gd name="connsiteX3" fmla="*/ 464725 w 470820"/>
                <a:gd name="connsiteY3" fmla="*/ 66580 h 66579"/>
                <a:gd name="connsiteX4" fmla="*/ 454819 w 470820"/>
                <a:gd name="connsiteY4" fmla="*/ 66580 h 66579"/>
                <a:gd name="connsiteX5" fmla="*/ 454819 w 470820"/>
                <a:gd name="connsiteY5" fmla="*/ 62103 h 66579"/>
                <a:gd name="connsiteX6" fmla="*/ 15716 w 470820"/>
                <a:gd name="connsiteY6" fmla="*/ 62103 h 66579"/>
                <a:gd name="connsiteX7" fmla="*/ 15716 w 470820"/>
                <a:gd name="connsiteY7" fmla="*/ 66580 h 66579"/>
                <a:gd name="connsiteX8" fmla="*/ 5810 w 470820"/>
                <a:gd name="connsiteY8" fmla="*/ 66580 h 66579"/>
                <a:gd name="connsiteX9" fmla="*/ 5810 w 470820"/>
                <a:gd name="connsiteY9" fmla="*/ 61913 h 66579"/>
                <a:gd name="connsiteX10" fmla="*/ 0 w 470820"/>
                <a:gd name="connsiteY10" fmla="*/ 34195 h 66579"/>
                <a:gd name="connsiteX11" fmla="*/ 5810 w 470820"/>
                <a:gd name="connsiteY11" fmla="*/ 6477 h 66579"/>
                <a:gd name="connsiteX12" fmla="*/ 5810 w 470820"/>
                <a:gd name="connsiteY12" fmla="*/ 0 h 66579"/>
                <a:gd name="connsiteX13" fmla="*/ 15716 w 470820"/>
                <a:gd name="connsiteY13" fmla="*/ 0 h 66579"/>
                <a:gd name="connsiteX14" fmla="*/ 15716 w 470820"/>
                <a:gd name="connsiteY14" fmla="*/ 4477 h 66579"/>
                <a:gd name="connsiteX15" fmla="*/ 454819 w 470820"/>
                <a:gd name="connsiteY15" fmla="*/ 4477 h 66579"/>
                <a:gd name="connsiteX16" fmla="*/ 454819 w 470820"/>
                <a:gd name="connsiteY16" fmla="*/ 0 h 66579"/>
                <a:gd name="connsiteX17" fmla="*/ 464725 w 470820"/>
                <a:gd name="connsiteY17" fmla="*/ 0 h 66579"/>
                <a:gd name="connsiteX18" fmla="*/ 464725 w 470820"/>
                <a:gd name="connsiteY18" fmla="*/ 5715 h 66579"/>
                <a:gd name="connsiteX19" fmla="*/ 464725 w 470820"/>
                <a:gd name="connsiteY19" fmla="*/ 5715 h 6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0820" h="66579">
                  <a:moveTo>
                    <a:pt x="464725" y="5715"/>
                  </a:moveTo>
                  <a:cubicBezTo>
                    <a:pt x="468439" y="12287"/>
                    <a:pt x="470821" y="22479"/>
                    <a:pt x="470821" y="34004"/>
                  </a:cubicBezTo>
                  <a:cubicBezTo>
                    <a:pt x="470821" y="45529"/>
                    <a:pt x="468439" y="55721"/>
                    <a:pt x="464725" y="62293"/>
                  </a:cubicBezTo>
                  <a:lnTo>
                    <a:pt x="464725" y="66580"/>
                  </a:lnTo>
                  <a:lnTo>
                    <a:pt x="454819" y="66580"/>
                  </a:lnTo>
                  <a:lnTo>
                    <a:pt x="454819" y="62103"/>
                  </a:lnTo>
                  <a:lnTo>
                    <a:pt x="15716" y="62103"/>
                  </a:lnTo>
                  <a:lnTo>
                    <a:pt x="15716" y="66580"/>
                  </a:lnTo>
                  <a:lnTo>
                    <a:pt x="5810" y="66580"/>
                  </a:lnTo>
                  <a:lnTo>
                    <a:pt x="5810" y="61913"/>
                  </a:lnTo>
                  <a:cubicBezTo>
                    <a:pt x="2286" y="55340"/>
                    <a:pt x="0" y="45339"/>
                    <a:pt x="0" y="34195"/>
                  </a:cubicBezTo>
                  <a:cubicBezTo>
                    <a:pt x="0" y="23050"/>
                    <a:pt x="2286" y="13049"/>
                    <a:pt x="5810" y="6477"/>
                  </a:cubicBezTo>
                  <a:lnTo>
                    <a:pt x="5810" y="0"/>
                  </a:lnTo>
                  <a:lnTo>
                    <a:pt x="15716" y="0"/>
                  </a:lnTo>
                  <a:lnTo>
                    <a:pt x="15716" y="4477"/>
                  </a:lnTo>
                  <a:lnTo>
                    <a:pt x="454819" y="4477"/>
                  </a:lnTo>
                  <a:lnTo>
                    <a:pt x="454819" y="0"/>
                  </a:lnTo>
                  <a:lnTo>
                    <a:pt x="464725" y="0"/>
                  </a:lnTo>
                  <a:lnTo>
                    <a:pt x="464725" y="5715"/>
                  </a:lnTo>
                  <a:lnTo>
                    <a:pt x="464725" y="571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9EF38C7-A815-7F40-9E1C-5CCDE922784F}"/>
                </a:ext>
              </a:extLst>
            </p:cNvPr>
            <p:cNvSpPr/>
            <p:nvPr/>
          </p:nvSpPr>
          <p:spPr>
            <a:xfrm>
              <a:off x="5896786" y="2865201"/>
              <a:ext cx="32956" cy="36290"/>
            </a:xfrm>
            <a:custGeom>
              <a:avLst/>
              <a:gdLst>
                <a:gd name="connsiteX0" fmla="*/ 32956 w 32956"/>
                <a:gd name="connsiteY0" fmla="*/ 36290 h 36290"/>
                <a:gd name="connsiteX1" fmla="*/ 32956 w 32956"/>
                <a:gd name="connsiteY1" fmla="*/ 0 h 36290"/>
                <a:gd name="connsiteX2" fmla="*/ 0 w 32956"/>
                <a:gd name="connsiteY2" fmla="*/ 0 h 36290"/>
                <a:gd name="connsiteX3" fmla="*/ 0 w 32956"/>
                <a:gd name="connsiteY3" fmla="*/ 36290 h 36290"/>
                <a:gd name="connsiteX4" fmla="*/ 32956 w 32956"/>
                <a:gd name="connsiteY4" fmla="*/ 36290 h 3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56" h="36290">
                  <a:moveTo>
                    <a:pt x="32956" y="36290"/>
                  </a:moveTo>
                  <a:lnTo>
                    <a:pt x="32956" y="0"/>
                  </a:lnTo>
                  <a:lnTo>
                    <a:pt x="0" y="0"/>
                  </a:lnTo>
                  <a:lnTo>
                    <a:pt x="0" y="36290"/>
                  </a:lnTo>
                  <a:lnTo>
                    <a:pt x="32956" y="36290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02C26F2-24BC-1474-5001-B4573F7C7745}"/>
                </a:ext>
              </a:extLst>
            </p:cNvPr>
            <p:cNvSpPr/>
            <p:nvPr/>
          </p:nvSpPr>
          <p:spPr>
            <a:xfrm>
              <a:off x="5606369" y="2864915"/>
              <a:ext cx="262223" cy="32384"/>
            </a:xfrm>
            <a:custGeom>
              <a:avLst/>
              <a:gdLst>
                <a:gd name="connsiteX0" fmla="*/ 262223 w 262223"/>
                <a:gd name="connsiteY0" fmla="*/ 32385 h 32384"/>
                <a:gd name="connsiteX1" fmla="*/ 262223 w 262223"/>
                <a:gd name="connsiteY1" fmla="*/ 0 h 32384"/>
                <a:gd name="connsiteX2" fmla="*/ 0 w 262223"/>
                <a:gd name="connsiteY2" fmla="*/ 0 h 32384"/>
                <a:gd name="connsiteX3" fmla="*/ 0 w 262223"/>
                <a:gd name="connsiteY3" fmla="*/ 32385 h 32384"/>
                <a:gd name="connsiteX4" fmla="*/ 262223 w 262223"/>
                <a:gd name="connsiteY4" fmla="*/ 32385 h 3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23" h="32384">
                  <a:moveTo>
                    <a:pt x="262223" y="32385"/>
                  </a:moveTo>
                  <a:lnTo>
                    <a:pt x="262223" y="0"/>
                  </a:lnTo>
                  <a:lnTo>
                    <a:pt x="0" y="0"/>
                  </a:lnTo>
                  <a:lnTo>
                    <a:pt x="0" y="32385"/>
                  </a:lnTo>
                  <a:lnTo>
                    <a:pt x="262223" y="32385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EC939A7A-FABF-6983-23E7-534490BFD20A}"/>
                </a:ext>
              </a:extLst>
            </p:cNvPr>
            <p:cNvSpPr/>
            <p:nvPr/>
          </p:nvSpPr>
          <p:spPr>
            <a:xfrm>
              <a:off x="5842017" y="2702038"/>
              <a:ext cx="25050" cy="31527"/>
            </a:xfrm>
            <a:custGeom>
              <a:avLst/>
              <a:gdLst>
                <a:gd name="connsiteX0" fmla="*/ 25051 w 25050"/>
                <a:gd name="connsiteY0" fmla="*/ 31528 h 31527"/>
                <a:gd name="connsiteX1" fmla="*/ 25051 w 25050"/>
                <a:gd name="connsiteY1" fmla="*/ 0 h 31527"/>
                <a:gd name="connsiteX2" fmla="*/ 0 w 25050"/>
                <a:gd name="connsiteY2" fmla="*/ 0 h 31527"/>
                <a:gd name="connsiteX3" fmla="*/ 0 w 25050"/>
                <a:gd name="connsiteY3" fmla="*/ 31528 h 31527"/>
                <a:gd name="connsiteX4" fmla="*/ 25051 w 25050"/>
                <a:gd name="connsiteY4" fmla="*/ 31528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50" h="31527">
                  <a:moveTo>
                    <a:pt x="25051" y="31528"/>
                  </a:moveTo>
                  <a:lnTo>
                    <a:pt x="25051" y="0"/>
                  </a:lnTo>
                  <a:lnTo>
                    <a:pt x="0" y="0"/>
                  </a:lnTo>
                  <a:lnTo>
                    <a:pt x="0" y="31528"/>
                  </a:lnTo>
                  <a:lnTo>
                    <a:pt x="25051" y="31528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43748D79-0313-388D-3795-86E4EF71B9B6}"/>
                </a:ext>
              </a:extLst>
            </p:cNvPr>
            <p:cNvSpPr/>
            <p:nvPr/>
          </p:nvSpPr>
          <p:spPr>
            <a:xfrm>
              <a:off x="5613989" y="2716040"/>
              <a:ext cx="90773" cy="20859"/>
            </a:xfrm>
            <a:custGeom>
              <a:avLst/>
              <a:gdLst>
                <a:gd name="connsiteX0" fmla="*/ 90773 w 90773"/>
                <a:gd name="connsiteY0" fmla="*/ 20860 h 20859"/>
                <a:gd name="connsiteX1" fmla="*/ 90773 w 90773"/>
                <a:gd name="connsiteY1" fmla="*/ 0 h 20859"/>
                <a:gd name="connsiteX2" fmla="*/ 0 w 90773"/>
                <a:gd name="connsiteY2" fmla="*/ 0 h 20859"/>
                <a:gd name="connsiteX3" fmla="*/ 0 w 90773"/>
                <a:gd name="connsiteY3" fmla="*/ 20860 h 20859"/>
                <a:gd name="connsiteX4" fmla="*/ 90773 w 90773"/>
                <a:gd name="connsiteY4" fmla="*/ 20860 h 2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73" h="20859">
                  <a:moveTo>
                    <a:pt x="90773" y="20860"/>
                  </a:moveTo>
                  <a:lnTo>
                    <a:pt x="90773" y="0"/>
                  </a:lnTo>
                  <a:lnTo>
                    <a:pt x="0" y="0"/>
                  </a:lnTo>
                  <a:lnTo>
                    <a:pt x="0" y="20860"/>
                  </a:lnTo>
                  <a:lnTo>
                    <a:pt x="90773" y="2086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B806A36E-C2F2-D848-51A6-8F567798E097}"/>
                </a:ext>
              </a:extLst>
            </p:cNvPr>
            <p:cNvSpPr/>
            <p:nvPr/>
          </p:nvSpPr>
          <p:spPr>
            <a:xfrm>
              <a:off x="5719335" y="2747186"/>
              <a:ext cx="39052" cy="25527"/>
            </a:xfrm>
            <a:custGeom>
              <a:avLst/>
              <a:gdLst>
                <a:gd name="connsiteX0" fmla="*/ 39052 w 39052"/>
                <a:gd name="connsiteY0" fmla="*/ 25527 h 25527"/>
                <a:gd name="connsiteX1" fmla="*/ 39052 w 39052"/>
                <a:gd name="connsiteY1" fmla="*/ 0 h 25527"/>
                <a:gd name="connsiteX2" fmla="*/ 0 w 39052"/>
                <a:gd name="connsiteY2" fmla="*/ 0 h 25527"/>
                <a:gd name="connsiteX3" fmla="*/ 0 w 39052"/>
                <a:gd name="connsiteY3" fmla="*/ 25527 h 25527"/>
                <a:gd name="connsiteX4" fmla="*/ 39052 w 39052"/>
                <a:gd name="connsiteY4" fmla="*/ 25527 h 2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52" h="25527">
                  <a:moveTo>
                    <a:pt x="39052" y="25527"/>
                  </a:moveTo>
                  <a:lnTo>
                    <a:pt x="39052" y="0"/>
                  </a:lnTo>
                  <a:lnTo>
                    <a:pt x="0" y="0"/>
                  </a:lnTo>
                  <a:lnTo>
                    <a:pt x="0" y="25527"/>
                  </a:lnTo>
                  <a:lnTo>
                    <a:pt x="39052" y="2552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6" name="Freihandform: Form 735">
              <a:extLst>
                <a:ext uri="{FF2B5EF4-FFF2-40B4-BE49-F238E27FC236}">
                  <a16:creationId xmlns:a16="http://schemas.microsoft.com/office/drawing/2014/main" id="{4DDF8569-60AC-68AC-A17F-7AD2288C84A9}"/>
                </a:ext>
              </a:extLst>
            </p:cNvPr>
            <p:cNvSpPr/>
            <p:nvPr/>
          </p:nvSpPr>
          <p:spPr>
            <a:xfrm>
              <a:off x="5702952" y="2753949"/>
              <a:ext cx="71151" cy="12001"/>
            </a:xfrm>
            <a:custGeom>
              <a:avLst/>
              <a:gdLst>
                <a:gd name="connsiteX0" fmla="*/ 71152 w 71151"/>
                <a:gd name="connsiteY0" fmla="*/ 12002 h 12001"/>
                <a:gd name="connsiteX1" fmla="*/ 71152 w 71151"/>
                <a:gd name="connsiteY1" fmla="*/ 0 h 12001"/>
                <a:gd name="connsiteX2" fmla="*/ 0 w 71151"/>
                <a:gd name="connsiteY2" fmla="*/ 0 h 12001"/>
                <a:gd name="connsiteX3" fmla="*/ 0 w 71151"/>
                <a:gd name="connsiteY3" fmla="*/ 12002 h 12001"/>
                <a:gd name="connsiteX4" fmla="*/ 71152 w 71151"/>
                <a:gd name="connsiteY4" fmla="*/ 12002 h 1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151" h="12001">
                  <a:moveTo>
                    <a:pt x="71152" y="12002"/>
                  </a:moveTo>
                  <a:lnTo>
                    <a:pt x="71152" y="0"/>
                  </a:lnTo>
                  <a:lnTo>
                    <a:pt x="0" y="0"/>
                  </a:lnTo>
                  <a:lnTo>
                    <a:pt x="0" y="12002"/>
                  </a:lnTo>
                  <a:lnTo>
                    <a:pt x="71152" y="12002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7" name="Freihandform: Form 736">
              <a:extLst>
                <a:ext uri="{FF2B5EF4-FFF2-40B4-BE49-F238E27FC236}">
                  <a16:creationId xmlns:a16="http://schemas.microsoft.com/office/drawing/2014/main" id="{F2C79272-7EDC-32CC-7BED-5F735DD1B299}"/>
                </a:ext>
              </a:extLst>
            </p:cNvPr>
            <p:cNvSpPr/>
            <p:nvPr/>
          </p:nvSpPr>
          <p:spPr>
            <a:xfrm>
              <a:off x="5884022" y="2731565"/>
              <a:ext cx="53816" cy="56673"/>
            </a:xfrm>
            <a:custGeom>
              <a:avLst/>
              <a:gdLst>
                <a:gd name="connsiteX0" fmla="*/ 53816 w 53816"/>
                <a:gd name="connsiteY0" fmla="*/ 56674 h 56673"/>
                <a:gd name="connsiteX1" fmla="*/ 53816 w 53816"/>
                <a:gd name="connsiteY1" fmla="*/ 0 h 56673"/>
                <a:gd name="connsiteX2" fmla="*/ 0 w 53816"/>
                <a:gd name="connsiteY2" fmla="*/ 0 h 56673"/>
                <a:gd name="connsiteX3" fmla="*/ 0 w 53816"/>
                <a:gd name="connsiteY3" fmla="*/ 56674 h 56673"/>
                <a:gd name="connsiteX4" fmla="*/ 53816 w 53816"/>
                <a:gd name="connsiteY4" fmla="*/ 56674 h 5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816" h="56673">
                  <a:moveTo>
                    <a:pt x="53816" y="56674"/>
                  </a:moveTo>
                  <a:lnTo>
                    <a:pt x="53816" y="0"/>
                  </a:lnTo>
                  <a:lnTo>
                    <a:pt x="0" y="0"/>
                  </a:lnTo>
                  <a:lnTo>
                    <a:pt x="0" y="56674"/>
                  </a:lnTo>
                  <a:lnTo>
                    <a:pt x="53816" y="56674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8" name="Freihandform: Form 737">
              <a:extLst>
                <a:ext uri="{FF2B5EF4-FFF2-40B4-BE49-F238E27FC236}">
                  <a16:creationId xmlns:a16="http://schemas.microsoft.com/office/drawing/2014/main" id="{75CDADD2-AEBD-11FD-E1D6-6E9FB995AACD}"/>
                </a:ext>
              </a:extLst>
            </p:cNvPr>
            <p:cNvSpPr/>
            <p:nvPr/>
          </p:nvSpPr>
          <p:spPr>
            <a:xfrm>
              <a:off x="5609321" y="2722612"/>
              <a:ext cx="98107" cy="78009"/>
            </a:xfrm>
            <a:custGeom>
              <a:avLst/>
              <a:gdLst>
                <a:gd name="connsiteX0" fmla="*/ 98108 w 98107"/>
                <a:gd name="connsiteY0" fmla="*/ 78010 h 78009"/>
                <a:gd name="connsiteX1" fmla="*/ 98108 w 98107"/>
                <a:gd name="connsiteY1" fmla="*/ 0 h 78009"/>
                <a:gd name="connsiteX2" fmla="*/ 0 w 98107"/>
                <a:gd name="connsiteY2" fmla="*/ 0 h 78009"/>
                <a:gd name="connsiteX3" fmla="*/ 0 w 98107"/>
                <a:gd name="connsiteY3" fmla="*/ 78010 h 78009"/>
                <a:gd name="connsiteX4" fmla="*/ 98108 w 98107"/>
                <a:gd name="connsiteY4" fmla="*/ 78010 h 78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107" h="78009">
                  <a:moveTo>
                    <a:pt x="98108" y="78010"/>
                  </a:moveTo>
                  <a:lnTo>
                    <a:pt x="98108" y="0"/>
                  </a:lnTo>
                  <a:lnTo>
                    <a:pt x="0" y="0"/>
                  </a:lnTo>
                  <a:lnTo>
                    <a:pt x="0" y="78010"/>
                  </a:lnTo>
                  <a:lnTo>
                    <a:pt x="98108" y="7801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39" name="Freihandform: Form 738">
              <a:extLst>
                <a:ext uri="{FF2B5EF4-FFF2-40B4-BE49-F238E27FC236}">
                  <a16:creationId xmlns:a16="http://schemas.microsoft.com/office/drawing/2014/main" id="{1B771E2D-CB67-9702-F3EB-25170656EC8E}"/>
                </a:ext>
              </a:extLst>
            </p:cNvPr>
            <p:cNvSpPr/>
            <p:nvPr/>
          </p:nvSpPr>
          <p:spPr>
            <a:xfrm>
              <a:off x="5767817" y="2723469"/>
              <a:ext cx="124967" cy="75533"/>
            </a:xfrm>
            <a:custGeom>
              <a:avLst/>
              <a:gdLst>
                <a:gd name="connsiteX0" fmla="*/ 124968 w 124967"/>
                <a:gd name="connsiteY0" fmla="*/ 75533 h 75533"/>
                <a:gd name="connsiteX1" fmla="*/ 124968 w 124967"/>
                <a:gd name="connsiteY1" fmla="*/ 0 h 75533"/>
                <a:gd name="connsiteX2" fmla="*/ 0 w 124967"/>
                <a:gd name="connsiteY2" fmla="*/ 0 h 75533"/>
                <a:gd name="connsiteX3" fmla="*/ 0 w 124967"/>
                <a:gd name="connsiteY3" fmla="*/ 75533 h 75533"/>
                <a:gd name="connsiteX4" fmla="*/ 124968 w 124967"/>
                <a:gd name="connsiteY4" fmla="*/ 75533 h 75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67" h="75533">
                  <a:moveTo>
                    <a:pt x="124968" y="75533"/>
                  </a:moveTo>
                  <a:lnTo>
                    <a:pt x="124968" y="0"/>
                  </a:lnTo>
                  <a:lnTo>
                    <a:pt x="0" y="0"/>
                  </a:lnTo>
                  <a:lnTo>
                    <a:pt x="0" y="75533"/>
                  </a:lnTo>
                  <a:lnTo>
                    <a:pt x="124968" y="75533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0" name="Freihandform: Form 739">
              <a:extLst>
                <a:ext uri="{FF2B5EF4-FFF2-40B4-BE49-F238E27FC236}">
                  <a16:creationId xmlns:a16="http://schemas.microsoft.com/office/drawing/2014/main" id="{175B5095-08BF-6441-A98E-BD1209DE751D}"/>
                </a:ext>
              </a:extLst>
            </p:cNvPr>
            <p:cNvSpPr/>
            <p:nvPr/>
          </p:nvSpPr>
          <p:spPr>
            <a:xfrm>
              <a:off x="5656661" y="2735471"/>
              <a:ext cx="48577" cy="48577"/>
            </a:xfrm>
            <a:custGeom>
              <a:avLst/>
              <a:gdLst>
                <a:gd name="connsiteX0" fmla="*/ 48578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8 w 48577"/>
                <a:gd name="connsiteY4" fmla="*/ 24289 h 48577"/>
                <a:gd name="connsiteX5" fmla="*/ 48578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8" y="24289"/>
                  </a:moveTo>
                  <a:cubicBezTo>
                    <a:pt x="48578" y="37719"/>
                    <a:pt x="37719" y="48577"/>
                    <a:pt x="24289" y="48577"/>
                  </a:cubicBezTo>
                  <a:cubicBezTo>
                    <a:pt x="10858" y="48577"/>
                    <a:pt x="0" y="37624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8" y="10858"/>
                    <a:pt x="48578" y="24289"/>
                  </a:cubicBezTo>
                  <a:lnTo>
                    <a:pt x="48578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1" name="Freihandform: Form 740">
              <a:extLst>
                <a:ext uri="{FF2B5EF4-FFF2-40B4-BE49-F238E27FC236}">
                  <a16:creationId xmlns:a16="http://schemas.microsoft.com/office/drawing/2014/main" id="{24F4509B-E8FA-910C-A7B1-7B54C945A22C}"/>
                </a:ext>
              </a:extLst>
            </p:cNvPr>
            <p:cNvSpPr/>
            <p:nvPr/>
          </p:nvSpPr>
          <p:spPr>
            <a:xfrm>
              <a:off x="5718192" y="2927780"/>
              <a:ext cx="48577" cy="48577"/>
            </a:xfrm>
            <a:custGeom>
              <a:avLst/>
              <a:gdLst>
                <a:gd name="connsiteX0" fmla="*/ 48577 w 48577"/>
                <a:gd name="connsiteY0" fmla="*/ 24289 h 48577"/>
                <a:gd name="connsiteX1" fmla="*/ 24289 w 48577"/>
                <a:gd name="connsiteY1" fmla="*/ 48577 h 48577"/>
                <a:gd name="connsiteX2" fmla="*/ 0 w 48577"/>
                <a:gd name="connsiteY2" fmla="*/ 24289 h 48577"/>
                <a:gd name="connsiteX3" fmla="*/ 24289 w 48577"/>
                <a:gd name="connsiteY3" fmla="*/ 0 h 48577"/>
                <a:gd name="connsiteX4" fmla="*/ 48577 w 48577"/>
                <a:gd name="connsiteY4" fmla="*/ 24289 h 48577"/>
                <a:gd name="connsiteX5" fmla="*/ 48577 w 48577"/>
                <a:gd name="connsiteY5" fmla="*/ 24289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577" h="48577">
                  <a:moveTo>
                    <a:pt x="48577" y="24289"/>
                  </a:moveTo>
                  <a:cubicBezTo>
                    <a:pt x="48577" y="37719"/>
                    <a:pt x="37719" y="48577"/>
                    <a:pt x="24289" y="48577"/>
                  </a:cubicBezTo>
                  <a:cubicBezTo>
                    <a:pt x="10858" y="48577"/>
                    <a:pt x="0" y="37719"/>
                    <a:pt x="0" y="24289"/>
                  </a:cubicBezTo>
                  <a:cubicBezTo>
                    <a:pt x="0" y="10858"/>
                    <a:pt x="10858" y="0"/>
                    <a:pt x="24289" y="0"/>
                  </a:cubicBezTo>
                  <a:cubicBezTo>
                    <a:pt x="37719" y="0"/>
                    <a:pt x="48577" y="10858"/>
                    <a:pt x="48577" y="24289"/>
                  </a:cubicBezTo>
                  <a:lnTo>
                    <a:pt x="48577" y="2428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2" name="Freihandform: Form 741">
              <a:extLst>
                <a:ext uri="{FF2B5EF4-FFF2-40B4-BE49-F238E27FC236}">
                  <a16:creationId xmlns:a16="http://schemas.microsoft.com/office/drawing/2014/main" id="{9AEF2317-4D75-9A05-C00C-BC7E391BA07B}"/>
                </a:ext>
              </a:extLst>
            </p:cNvPr>
            <p:cNvSpPr/>
            <p:nvPr/>
          </p:nvSpPr>
          <p:spPr>
            <a:xfrm>
              <a:off x="5609321" y="2771761"/>
              <a:ext cx="19431" cy="19430"/>
            </a:xfrm>
            <a:custGeom>
              <a:avLst/>
              <a:gdLst>
                <a:gd name="connsiteX0" fmla="*/ 19431 w 19431"/>
                <a:gd name="connsiteY0" fmla="*/ 9716 h 19430"/>
                <a:gd name="connsiteX1" fmla="*/ 9716 w 19431"/>
                <a:gd name="connsiteY1" fmla="*/ 19431 h 19430"/>
                <a:gd name="connsiteX2" fmla="*/ 0 w 19431"/>
                <a:gd name="connsiteY2" fmla="*/ 9716 h 19430"/>
                <a:gd name="connsiteX3" fmla="*/ 9716 w 19431"/>
                <a:gd name="connsiteY3" fmla="*/ 0 h 19430"/>
                <a:gd name="connsiteX4" fmla="*/ 19431 w 19431"/>
                <a:gd name="connsiteY4" fmla="*/ 9716 h 19430"/>
                <a:gd name="connsiteX5" fmla="*/ 19431 w 19431"/>
                <a:gd name="connsiteY5" fmla="*/ 9716 h 19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0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1"/>
                    <a:pt x="4382" y="0"/>
                    <a:pt x="9716" y="0"/>
                  </a:cubicBezTo>
                  <a:cubicBezTo>
                    <a:pt x="15145" y="0"/>
                    <a:pt x="19431" y="4381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743" name="Freihandform: Form 742">
              <a:extLst>
                <a:ext uri="{FF2B5EF4-FFF2-40B4-BE49-F238E27FC236}">
                  <a16:creationId xmlns:a16="http://schemas.microsoft.com/office/drawing/2014/main" id="{27AF993B-2B2C-2DD9-9AC6-B7DA2D135126}"/>
                </a:ext>
              </a:extLst>
            </p:cNvPr>
            <p:cNvSpPr/>
            <p:nvPr/>
          </p:nvSpPr>
          <p:spPr>
            <a:xfrm>
              <a:off x="5915741" y="3045890"/>
              <a:ext cx="19431" cy="19431"/>
            </a:xfrm>
            <a:custGeom>
              <a:avLst/>
              <a:gdLst>
                <a:gd name="connsiteX0" fmla="*/ 19431 w 19431"/>
                <a:gd name="connsiteY0" fmla="*/ 9716 h 19431"/>
                <a:gd name="connsiteX1" fmla="*/ 9716 w 19431"/>
                <a:gd name="connsiteY1" fmla="*/ 19431 h 19431"/>
                <a:gd name="connsiteX2" fmla="*/ 0 w 19431"/>
                <a:gd name="connsiteY2" fmla="*/ 9716 h 19431"/>
                <a:gd name="connsiteX3" fmla="*/ 9716 w 19431"/>
                <a:gd name="connsiteY3" fmla="*/ 0 h 19431"/>
                <a:gd name="connsiteX4" fmla="*/ 19431 w 19431"/>
                <a:gd name="connsiteY4" fmla="*/ 9716 h 19431"/>
                <a:gd name="connsiteX5" fmla="*/ 19431 w 19431"/>
                <a:gd name="connsiteY5" fmla="*/ 9716 h 19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431" h="19431">
                  <a:moveTo>
                    <a:pt x="19431" y="9716"/>
                  </a:moveTo>
                  <a:cubicBezTo>
                    <a:pt x="19431" y="15050"/>
                    <a:pt x="15050" y="19431"/>
                    <a:pt x="9716" y="19431"/>
                  </a:cubicBezTo>
                  <a:cubicBezTo>
                    <a:pt x="4382" y="19431"/>
                    <a:pt x="0" y="15050"/>
                    <a:pt x="0" y="9716"/>
                  </a:cubicBezTo>
                  <a:cubicBezTo>
                    <a:pt x="0" y="4382"/>
                    <a:pt x="4382" y="0"/>
                    <a:pt x="9716" y="0"/>
                  </a:cubicBezTo>
                  <a:cubicBezTo>
                    <a:pt x="15145" y="95"/>
                    <a:pt x="19431" y="4382"/>
                    <a:pt x="19431" y="9716"/>
                  </a:cubicBezTo>
                  <a:lnTo>
                    <a:pt x="19431" y="971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2" name="Freihandform: Form 191">
              <a:extLst>
                <a:ext uri="{FF2B5EF4-FFF2-40B4-BE49-F238E27FC236}">
                  <a16:creationId xmlns:a16="http://schemas.microsoft.com/office/drawing/2014/main" id="{9EC51A8C-A0B4-484F-C1A9-BC955DDF5DAE}"/>
                </a:ext>
              </a:extLst>
            </p:cNvPr>
            <p:cNvSpPr/>
            <p:nvPr/>
          </p:nvSpPr>
          <p:spPr>
            <a:xfrm>
              <a:off x="5801917" y="2938353"/>
              <a:ext cx="26670" cy="26669"/>
            </a:xfrm>
            <a:custGeom>
              <a:avLst/>
              <a:gdLst>
                <a:gd name="connsiteX0" fmla="*/ 26670 w 26670"/>
                <a:gd name="connsiteY0" fmla="*/ 13335 h 26669"/>
                <a:gd name="connsiteX1" fmla="*/ 13335 w 26670"/>
                <a:gd name="connsiteY1" fmla="*/ 26670 h 26669"/>
                <a:gd name="connsiteX2" fmla="*/ 0 w 26670"/>
                <a:gd name="connsiteY2" fmla="*/ 13335 h 26669"/>
                <a:gd name="connsiteX3" fmla="*/ 13335 w 26670"/>
                <a:gd name="connsiteY3" fmla="*/ 0 h 26669"/>
                <a:gd name="connsiteX4" fmla="*/ 26670 w 26670"/>
                <a:gd name="connsiteY4" fmla="*/ 13335 h 26669"/>
                <a:gd name="connsiteX5" fmla="*/ 26670 w 26670"/>
                <a:gd name="connsiteY5" fmla="*/ 13335 h 2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" h="26669">
                  <a:moveTo>
                    <a:pt x="26670" y="13335"/>
                  </a:moveTo>
                  <a:cubicBezTo>
                    <a:pt x="26670" y="20669"/>
                    <a:pt x="20669" y="26670"/>
                    <a:pt x="13335" y="26670"/>
                  </a:cubicBezTo>
                  <a:cubicBezTo>
                    <a:pt x="6001" y="26670"/>
                    <a:pt x="0" y="20669"/>
                    <a:pt x="0" y="13335"/>
                  </a:cubicBezTo>
                  <a:cubicBezTo>
                    <a:pt x="0" y="6001"/>
                    <a:pt x="6001" y="0"/>
                    <a:pt x="13335" y="0"/>
                  </a:cubicBezTo>
                  <a:cubicBezTo>
                    <a:pt x="20669" y="0"/>
                    <a:pt x="26670" y="6001"/>
                    <a:pt x="26670" y="13335"/>
                  </a:cubicBezTo>
                  <a:lnTo>
                    <a:pt x="26670" y="13335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3" name="Freihandform: Form 192">
              <a:extLst>
                <a:ext uri="{FF2B5EF4-FFF2-40B4-BE49-F238E27FC236}">
                  <a16:creationId xmlns:a16="http://schemas.microsoft.com/office/drawing/2014/main" id="{03CC0513-FE0E-4F73-150C-0BE15A493B96}"/>
                </a:ext>
              </a:extLst>
            </p:cNvPr>
            <p:cNvSpPr/>
            <p:nvPr/>
          </p:nvSpPr>
          <p:spPr>
            <a:xfrm>
              <a:off x="5524168" y="3048557"/>
              <a:ext cx="14668" cy="14668"/>
            </a:xfrm>
            <a:custGeom>
              <a:avLst/>
              <a:gdLst>
                <a:gd name="connsiteX0" fmla="*/ 14669 w 14668"/>
                <a:gd name="connsiteY0" fmla="*/ 7334 h 14668"/>
                <a:gd name="connsiteX1" fmla="*/ 7334 w 14668"/>
                <a:gd name="connsiteY1" fmla="*/ 14669 h 14668"/>
                <a:gd name="connsiteX2" fmla="*/ 0 w 14668"/>
                <a:gd name="connsiteY2" fmla="*/ 7334 h 14668"/>
                <a:gd name="connsiteX3" fmla="*/ 7334 w 14668"/>
                <a:gd name="connsiteY3" fmla="*/ 0 h 14668"/>
                <a:gd name="connsiteX4" fmla="*/ 14669 w 14668"/>
                <a:gd name="connsiteY4" fmla="*/ 7334 h 14668"/>
                <a:gd name="connsiteX5" fmla="*/ 14669 w 14668"/>
                <a:gd name="connsiteY5" fmla="*/ 7334 h 14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68" h="14668">
                  <a:moveTo>
                    <a:pt x="14669" y="7334"/>
                  </a:moveTo>
                  <a:cubicBezTo>
                    <a:pt x="14669" y="11335"/>
                    <a:pt x="11335" y="14669"/>
                    <a:pt x="7334" y="14669"/>
                  </a:cubicBezTo>
                  <a:cubicBezTo>
                    <a:pt x="3238" y="14669"/>
                    <a:pt x="0" y="11335"/>
                    <a:pt x="0" y="7334"/>
                  </a:cubicBezTo>
                  <a:cubicBezTo>
                    <a:pt x="0" y="3334"/>
                    <a:pt x="3334" y="0"/>
                    <a:pt x="7334" y="0"/>
                  </a:cubicBezTo>
                  <a:cubicBezTo>
                    <a:pt x="11430" y="0"/>
                    <a:pt x="14669" y="3334"/>
                    <a:pt x="14669" y="7334"/>
                  </a:cubicBezTo>
                  <a:lnTo>
                    <a:pt x="14669" y="7334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4" name="Freihandform: Form 193">
              <a:extLst>
                <a:ext uri="{FF2B5EF4-FFF2-40B4-BE49-F238E27FC236}">
                  <a16:creationId xmlns:a16="http://schemas.microsoft.com/office/drawing/2014/main" id="{3834EEA2-529D-C3FC-B967-1308F4605B55}"/>
                </a:ext>
              </a:extLst>
            </p:cNvPr>
            <p:cNvSpPr/>
            <p:nvPr/>
          </p:nvSpPr>
          <p:spPr>
            <a:xfrm>
              <a:off x="5408246" y="2877774"/>
              <a:ext cx="138782" cy="240220"/>
            </a:xfrm>
            <a:custGeom>
              <a:avLst/>
              <a:gdLst>
                <a:gd name="connsiteX0" fmla="*/ 117637 w 138782"/>
                <a:gd name="connsiteY0" fmla="*/ 223457 h 240220"/>
                <a:gd name="connsiteX1" fmla="*/ 115541 w 138782"/>
                <a:gd name="connsiteY1" fmla="*/ 228410 h 240220"/>
                <a:gd name="connsiteX2" fmla="*/ 109731 w 138782"/>
                <a:gd name="connsiteY2" fmla="*/ 230029 h 240220"/>
                <a:gd name="connsiteX3" fmla="*/ 19053 w 138782"/>
                <a:gd name="connsiteY3" fmla="*/ 230791 h 240220"/>
                <a:gd name="connsiteX4" fmla="*/ 11719 w 138782"/>
                <a:gd name="connsiteY4" fmla="*/ 226028 h 240220"/>
                <a:gd name="connsiteX5" fmla="*/ 10290 w 138782"/>
                <a:gd name="connsiteY5" fmla="*/ 213741 h 240220"/>
                <a:gd name="connsiteX6" fmla="*/ 10861 w 138782"/>
                <a:gd name="connsiteY6" fmla="*/ 18860 h 240220"/>
                <a:gd name="connsiteX7" fmla="*/ 12957 w 138782"/>
                <a:gd name="connsiteY7" fmla="*/ 12859 h 240220"/>
                <a:gd name="connsiteX8" fmla="*/ 18862 w 138782"/>
                <a:gd name="connsiteY8" fmla="*/ 10382 h 240220"/>
                <a:gd name="connsiteX9" fmla="*/ 117160 w 138782"/>
                <a:gd name="connsiteY9" fmla="*/ 9811 h 240220"/>
                <a:gd name="connsiteX10" fmla="*/ 127162 w 138782"/>
                <a:gd name="connsiteY10" fmla="*/ 13716 h 240220"/>
                <a:gd name="connsiteX11" fmla="*/ 129352 w 138782"/>
                <a:gd name="connsiteY11" fmla="*/ 42577 h 240220"/>
                <a:gd name="connsiteX12" fmla="*/ 138782 w 138782"/>
                <a:gd name="connsiteY12" fmla="*/ 42577 h 240220"/>
                <a:gd name="connsiteX13" fmla="*/ 138497 w 138782"/>
                <a:gd name="connsiteY13" fmla="*/ 18193 h 240220"/>
                <a:gd name="connsiteX14" fmla="*/ 133258 w 138782"/>
                <a:gd name="connsiteY14" fmla="*/ 4953 h 240220"/>
                <a:gd name="connsiteX15" fmla="*/ 120399 w 138782"/>
                <a:gd name="connsiteY15" fmla="*/ 0 h 240220"/>
                <a:gd name="connsiteX16" fmla="*/ 18862 w 138782"/>
                <a:gd name="connsiteY16" fmla="*/ 857 h 240220"/>
                <a:gd name="connsiteX17" fmla="*/ 4765 w 138782"/>
                <a:gd name="connsiteY17" fmla="*/ 6572 h 240220"/>
                <a:gd name="connsiteX18" fmla="*/ 3 w 138782"/>
                <a:gd name="connsiteY18" fmla="*/ 19050 h 240220"/>
                <a:gd name="connsiteX19" fmla="*/ 670 w 138782"/>
                <a:gd name="connsiteY19" fmla="*/ 216027 h 240220"/>
                <a:gd name="connsiteX20" fmla="*/ 5337 w 138782"/>
                <a:gd name="connsiteY20" fmla="*/ 233934 h 240220"/>
                <a:gd name="connsiteX21" fmla="*/ 19148 w 138782"/>
                <a:gd name="connsiteY21" fmla="*/ 239935 h 240220"/>
                <a:gd name="connsiteX22" fmla="*/ 110112 w 138782"/>
                <a:gd name="connsiteY22" fmla="*/ 240221 h 240220"/>
                <a:gd name="connsiteX23" fmla="*/ 122971 w 138782"/>
                <a:gd name="connsiteY23" fmla="*/ 235077 h 240220"/>
                <a:gd name="connsiteX24" fmla="*/ 128210 w 138782"/>
                <a:gd name="connsiteY24" fmla="*/ 225362 h 240220"/>
                <a:gd name="connsiteX25" fmla="*/ 117637 w 138782"/>
                <a:gd name="connsiteY25" fmla="*/ 223457 h 240220"/>
                <a:gd name="connsiteX26" fmla="*/ 117637 w 138782"/>
                <a:gd name="connsiteY26" fmla="*/ 223457 h 24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8782" h="240220">
                  <a:moveTo>
                    <a:pt x="117637" y="223457"/>
                  </a:moveTo>
                  <a:cubicBezTo>
                    <a:pt x="117637" y="223457"/>
                    <a:pt x="117160" y="227171"/>
                    <a:pt x="115541" y="228410"/>
                  </a:cubicBezTo>
                  <a:cubicBezTo>
                    <a:pt x="113636" y="229838"/>
                    <a:pt x="109731" y="230029"/>
                    <a:pt x="109731" y="230029"/>
                  </a:cubicBezTo>
                  <a:lnTo>
                    <a:pt x="19053" y="230791"/>
                  </a:lnTo>
                  <a:cubicBezTo>
                    <a:pt x="19053" y="230791"/>
                    <a:pt x="13528" y="231267"/>
                    <a:pt x="11719" y="226028"/>
                  </a:cubicBezTo>
                  <a:cubicBezTo>
                    <a:pt x="10004" y="220790"/>
                    <a:pt x="10290" y="213741"/>
                    <a:pt x="10290" y="213741"/>
                  </a:cubicBezTo>
                  <a:lnTo>
                    <a:pt x="10861" y="18860"/>
                  </a:lnTo>
                  <a:cubicBezTo>
                    <a:pt x="10861" y="18860"/>
                    <a:pt x="10195" y="15621"/>
                    <a:pt x="12957" y="12859"/>
                  </a:cubicBezTo>
                  <a:cubicBezTo>
                    <a:pt x="15719" y="10097"/>
                    <a:pt x="18862" y="10382"/>
                    <a:pt x="18862" y="10382"/>
                  </a:cubicBezTo>
                  <a:lnTo>
                    <a:pt x="117160" y="9811"/>
                  </a:lnTo>
                  <a:cubicBezTo>
                    <a:pt x="117160" y="9811"/>
                    <a:pt x="123447" y="10001"/>
                    <a:pt x="127162" y="13716"/>
                  </a:cubicBezTo>
                  <a:cubicBezTo>
                    <a:pt x="130114" y="16669"/>
                    <a:pt x="129352" y="42577"/>
                    <a:pt x="129352" y="42577"/>
                  </a:cubicBezTo>
                  <a:lnTo>
                    <a:pt x="138782" y="42577"/>
                  </a:lnTo>
                  <a:lnTo>
                    <a:pt x="138497" y="18193"/>
                  </a:lnTo>
                  <a:cubicBezTo>
                    <a:pt x="138497" y="18193"/>
                    <a:pt x="138497" y="10001"/>
                    <a:pt x="133258" y="4953"/>
                  </a:cubicBezTo>
                  <a:cubicBezTo>
                    <a:pt x="128019" y="-95"/>
                    <a:pt x="120399" y="0"/>
                    <a:pt x="120399" y="0"/>
                  </a:cubicBezTo>
                  <a:lnTo>
                    <a:pt x="18862" y="857"/>
                  </a:lnTo>
                  <a:cubicBezTo>
                    <a:pt x="18862" y="857"/>
                    <a:pt x="9814" y="-857"/>
                    <a:pt x="4765" y="6572"/>
                  </a:cubicBezTo>
                  <a:cubicBezTo>
                    <a:pt x="-283" y="14002"/>
                    <a:pt x="3" y="19050"/>
                    <a:pt x="3" y="19050"/>
                  </a:cubicBezTo>
                  <a:lnTo>
                    <a:pt x="670" y="216027"/>
                  </a:lnTo>
                  <a:cubicBezTo>
                    <a:pt x="670" y="216027"/>
                    <a:pt x="-92" y="228124"/>
                    <a:pt x="5337" y="233934"/>
                  </a:cubicBezTo>
                  <a:cubicBezTo>
                    <a:pt x="11719" y="240792"/>
                    <a:pt x="19148" y="239935"/>
                    <a:pt x="19148" y="239935"/>
                  </a:cubicBezTo>
                  <a:lnTo>
                    <a:pt x="110112" y="240221"/>
                  </a:lnTo>
                  <a:cubicBezTo>
                    <a:pt x="110112" y="240221"/>
                    <a:pt x="118589" y="239744"/>
                    <a:pt x="122971" y="235077"/>
                  </a:cubicBezTo>
                  <a:cubicBezTo>
                    <a:pt x="127352" y="230410"/>
                    <a:pt x="128210" y="225362"/>
                    <a:pt x="128210" y="225362"/>
                  </a:cubicBezTo>
                  <a:lnTo>
                    <a:pt x="117637" y="223457"/>
                  </a:lnTo>
                  <a:lnTo>
                    <a:pt x="117637" y="223457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5" name="Freihandform: Form 194">
              <a:extLst>
                <a:ext uri="{FF2B5EF4-FFF2-40B4-BE49-F238E27FC236}">
                  <a16:creationId xmlns:a16="http://schemas.microsoft.com/office/drawing/2014/main" id="{BBBB001F-4907-E269-6B81-79770A291D06}"/>
                </a:ext>
              </a:extLst>
            </p:cNvPr>
            <p:cNvSpPr/>
            <p:nvPr/>
          </p:nvSpPr>
          <p:spPr>
            <a:xfrm>
              <a:off x="5490164" y="2773291"/>
              <a:ext cx="439875" cy="288221"/>
            </a:xfrm>
            <a:custGeom>
              <a:avLst/>
              <a:gdLst>
                <a:gd name="connsiteX0" fmla="*/ 130683 w 439875"/>
                <a:gd name="connsiteY0" fmla="*/ 15043 h 288221"/>
                <a:gd name="connsiteX1" fmla="*/ 22955 w 439875"/>
                <a:gd name="connsiteY1" fmla="*/ 34284 h 288221"/>
                <a:gd name="connsiteX2" fmla="*/ 18193 w 439875"/>
                <a:gd name="connsiteY2" fmla="*/ 37237 h 288221"/>
                <a:gd name="connsiteX3" fmla="*/ 15621 w 439875"/>
                <a:gd name="connsiteY3" fmla="*/ 43237 h 288221"/>
                <a:gd name="connsiteX4" fmla="*/ 15050 w 439875"/>
                <a:gd name="connsiteY4" fmla="*/ 192684 h 288221"/>
                <a:gd name="connsiteX5" fmla="*/ 19907 w 439875"/>
                <a:gd name="connsiteY5" fmla="*/ 201447 h 288221"/>
                <a:gd name="connsiteX6" fmla="*/ 28670 w 439875"/>
                <a:gd name="connsiteY6" fmla="*/ 205543 h 288221"/>
                <a:gd name="connsiteX7" fmla="*/ 421291 w 439875"/>
                <a:gd name="connsiteY7" fmla="*/ 207543 h 288221"/>
                <a:gd name="connsiteX8" fmla="*/ 435007 w 439875"/>
                <a:gd name="connsiteY8" fmla="*/ 212592 h 288221"/>
                <a:gd name="connsiteX9" fmla="*/ 439864 w 439875"/>
                <a:gd name="connsiteY9" fmla="*/ 226498 h 288221"/>
                <a:gd name="connsiteX10" fmla="*/ 439769 w 439875"/>
                <a:gd name="connsiteY10" fmla="*/ 283743 h 288221"/>
                <a:gd name="connsiteX11" fmla="*/ 434530 w 439875"/>
                <a:gd name="connsiteY11" fmla="*/ 288220 h 288221"/>
                <a:gd name="connsiteX12" fmla="*/ 429863 w 439875"/>
                <a:gd name="connsiteY12" fmla="*/ 283743 h 288221"/>
                <a:gd name="connsiteX13" fmla="*/ 429577 w 439875"/>
                <a:gd name="connsiteY13" fmla="*/ 226403 h 288221"/>
                <a:gd name="connsiteX14" fmla="*/ 427292 w 439875"/>
                <a:gd name="connsiteY14" fmla="*/ 220021 h 288221"/>
                <a:gd name="connsiteX15" fmla="*/ 421100 w 439875"/>
                <a:gd name="connsiteY15" fmla="*/ 217735 h 288221"/>
                <a:gd name="connsiteX16" fmla="*/ 28289 w 439875"/>
                <a:gd name="connsiteY16" fmla="*/ 219831 h 288221"/>
                <a:gd name="connsiteX17" fmla="*/ 9525 w 439875"/>
                <a:gd name="connsiteY17" fmla="*/ 211830 h 288221"/>
                <a:gd name="connsiteX18" fmla="*/ 0 w 439875"/>
                <a:gd name="connsiteY18" fmla="*/ 194875 h 288221"/>
                <a:gd name="connsiteX19" fmla="*/ 1429 w 439875"/>
                <a:gd name="connsiteY19" fmla="*/ 42094 h 288221"/>
                <a:gd name="connsiteX20" fmla="*/ 7715 w 439875"/>
                <a:gd name="connsiteY20" fmla="*/ 25330 h 288221"/>
                <a:gd name="connsiteX21" fmla="*/ 19907 w 439875"/>
                <a:gd name="connsiteY21" fmla="*/ 19139 h 288221"/>
                <a:gd name="connsiteX22" fmla="*/ 127825 w 439875"/>
                <a:gd name="connsiteY22" fmla="*/ 89 h 288221"/>
                <a:gd name="connsiteX23" fmla="*/ 135731 w 439875"/>
                <a:gd name="connsiteY23" fmla="*/ 5613 h 288221"/>
                <a:gd name="connsiteX24" fmla="*/ 130683 w 439875"/>
                <a:gd name="connsiteY24" fmla="*/ 15043 h 288221"/>
                <a:gd name="connsiteX25" fmla="*/ 130683 w 439875"/>
                <a:gd name="connsiteY25" fmla="*/ 15043 h 288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9875" h="288221">
                  <a:moveTo>
                    <a:pt x="130683" y="15043"/>
                  </a:moveTo>
                  <a:lnTo>
                    <a:pt x="22955" y="34284"/>
                  </a:lnTo>
                  <a:cubicBezTo>
                    <a:pt x="22955" y="34284"/>
                    <a:pt x="19526" y="35141"/>
                    <a:pt x="18193" y="37237"/>
                  </a:cubicBezTo>
                  <a:cubicBezTo>
                    <a:pt x="16192" y="40380"/>
                    <a:pt x="15621" y="43237"/>
                    <a:pt x="15621" y="43237"/>
                  </a:cubicBezTo>
                  <a:lnTo>
                    <a:pt x="15050" y="192684"/>
                  </a:lnTo>
                  <a:cubicBezTo>
                    <a:pt x="15050" y="192684"/>
                    <a:pt x="16954" y="198876"/>
                    <a:pt x="19907" y="201447"/>
                  </a:cubicBezTo>
                  <a:cubicBezTo>
                    <a:pt x="22765" y="203829"/>
                    <a:pt x="28670" y="205543"/>
                    <a:pt x="28670" y="205543"/>
                  </a:cubicBezTo>
                  <a:lnTo>
                    <a:pt x="421291" y="207543"/>
                  </a:lnTo>
                  <a:cubicBezTo>
                    <a:pt x="421291" y="207543"/>
                    <a:pt x="428054" y="205829"/>
                    <a:pt x="435007" y="212592"/>
                  </a:cubicBezTo>
                  <a:cubicBezTo>
                    <a:pt x="440341" y="217830"/>
                    <a:pt x="439864" y="226498"/>
                    <a:pt x="439864" y="226498"/>
                  </a:cubicBezTo>
                  <a:lnTo>
                    <a:pt x="439769" y="283743"/>
                  </a:lnTo>
                  <a:cubicBezTo>
                    <a:pt x="439769" y="283743"/>
                    <a:pt x="438817" y="288220"/>
                    <a:pt x="434530" y="288220"/>
                  </a:cubicBezTo>
                  <a:cubicBezTo>
                    <a:pt x="430244" y="288315"/>
                    <a:pt x="429863" y="283743"/>
                    <a:pt x="429863" y="283743"/>
                  </a:cubicBezTo>
                  <a:lnTo>
                    <a:pt x="429577" y="226403"/>
                  </a:lnTo>
                  <a:cubicBezTo>
                    <a:pt x="429577" y="226403"/>
                    <a:pt x="430149" y="222402"/>
                    <a:pt x="427292" y="220021"/>
                  </a:cubicBezTo>
                  <a:cubicBezTo>
                    <a:pt x="423767" y="217164"/>
                    <a:pt x="421100" y="217735"/>
                    <a:pt x="421100" y="217735"/>
                  </a:cubicBezTo>
                  <a:lnTo>
                    <a:pt x="28289" y="219831"/>
                  </a:lnTo>
                  <a:cubicBezTo>
                    <a:pt x="28289" y="219831"/>
                    <a:pt x="16859" y="219259"/>
                    <a:pt x="9525" y="211830"/>
                  </a:cubicBezTo>
                  <a:cubicBezTo>
                    <a:pt x="667" y="202971"/>
                    <a:pt x="0" y="194875"/>
                    <a:pt x="0" y="194875"/>
                  </a:cubicBezTo>
                  <a:lnTo>
                    <a:pt x="1429" y="42094"/>
                  </a:lnTo>
                  <a:cubicBezTo>
                    <a:pt x="1429" y="42094"/>
                    <a:pt x="1714" y="31140"/>
                    <a:pt x="7715" y="25330"/>
                  </a:cubicBezTo>
                  <a:cubicBezTo>
                    <a:pt x="14097" y="19234"/>
                    <a:pt x="19907" y="19139"/>
                    <a:pt x="19907" y="19139"/>
                  </a:cubicBezTo>
                  <a:lnTo>
                    <a:pt x="127825" y="89"/>
                  </a:lnTo>
                  <a:cubicBezTo>
                    <a:pt x="127825" y="89"/>
                    <a:pt x="134207" y="-1149"/>
                    <a:pt x="135731" y="5613"/>
                  </a:cubicBezTo>
                  <a:cubicBezTo>
                    <a:pt x="137446" y="12567"/>
                    <a:pt x="130683" y="15043"/>
                    <a:pt x="130683" y="15043"/>
                  </a:cubicBezTo>
                  <a:lnTo>
                    <a:pt x="130683" y="15043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6" name="Freihandform: Form 195">
              <a:extLst>
                <a:ext uri="{FF2B5EF4-FFF2-40B4-BE49-F238E27FC236}">
                  <a16:creationId xmlns:a16="http://schemas.microsoft.com/office/drawing/2014/main" id="{09AA8274-028E-CE9C-B9D6-1B562C0D515E}"/>
                </a:ext>
              </a:extLst>
            </p:cNvPr>
            <p:cNvSpPr/>
            <p:nvPr/>
          </p:nvSpPr>
          <p:spPr>
            <a:xfrm>
              <a:off x="5376912" y="2739566"/>
              <a:ext cx="384333" cy="232056"/>
            </a:xfrm>
            <a:custGeom>
              <a:avLst/>
              <a:gdLst>
                <a:gd name="connsiteX0" fmla="*/ 77914 w 384333"/>
                <a:gd name="connsiteY0" fmla="*/ 192405 h 232056"/>
                <a:gd name="connsiteX1" fmla="*/ 363474 w 384333"/>
                <a:gd name="connsiteY1" fmla="*/ 192405 h 232056"/>
                <a:gd name="connsiteX2" fmla="*/ 363474 w 384333"/>
                <a:gd name="connsiteY2" fmla="*/ 192500 h 232056"/>
                <a:gd name="connsiteX3" fmla="*/ 364712 w 384333"/>
                <a:gd name="connsiteY3" fmla="*/ 192500 h 232056"/>
                <a:gd name="connsiteX4" fmla="*/ 384334 w 384333"/>
                <a:gd name="connsiteY4" fmla="*/ 212122 h 232056"/>
                <a:gd name="connsiteX5" fmla="*/ 364712 w 384333"/>
                <a:gd name="connsiteY5" fmla="*/ 231743 h 232056"/>
                <a:gd name="connsiteX6" fmla="*/ 363474 w 384333"/>
                <a:gd name="connsiteY6" fmla="*/ 231743 h 232056"/>
                <a:gd name="connsiteX7" fmla="*/ 363474 w 384333"/>
                <a:gd name="connsiteY7" fmla="*/ 231839 h 232056"/>
                <a:gd name="connsiteX8" fmla="*/ 76486 w 384333"/>
                <a:gd name="connsiteY8" fmla="*/ 231839 h 232056"/>
                <a:gd name="connsiteX9" fmla="*/ 76486 w 384333"/>
                <a:gd name="connsiteY9" fmla="*/ 231934 h 232056"/>
                <a:gd name="connsiteX10" fmla="*/ 24003 w 384333"/>
                <a:gd name="connsiteY10" fmla="*/ 212884 h 232056"/>
                <a:gd name="connsiteX11" fmla="*/ 95 w 384333"/>
                <a:gd name="connsiteY11" fmla="*/ 159068 h 232056"/>
                <a:gd name="connsiteX12" fmla="*/ 95 w 384333"/>
                <a:gd name="connsiteY12" fmla="*/ 159068 h 232056"/>
                <a:gd name="connsiteX13" fmla="*/ 95 w 384333"/>
                <a:gd name="connsiteY13" fmla="*/ 74771 h 232056"/>
                <a:gd name="connsiteX14" fmla="*/ 0 w 384333"/>
                <a:gd name="connsiteY14" fmla="*/ 74771 h 232056"/>
                <a:gd name="connsiteX15" fmla="*/ 21431 w 384333"/>
                <a:gd name="connsiteY15" fmla="*/ 20860 h 232056"/>
                <a:gd name="connsiteX16" fmla="*/ 72390 w 384333"/>
                <a:gd name="connsiteY16" fmla="*/ 286 h 232056"/>
                <a:gd name="connsiteX17" fmla="*/ 72390 w 384333"/>
                <a:gd name="connsiteY17" fmla="*/ 0 h 232056"/>
                <a:gd name="connsiteX18" fmla="*/ 300704 w 384333"/>
                <a:gd name="connsiteY18" fmla="*/ 0 h 232056"/>
                <a:gd name="connsiteX19" fmla="*/ 300704 w 384333"/>
                <a:gd name="connsiteY19" fmla="*/ 286 h 232056"/>
                <a:gd name="connsiteX20" fmla="*/ 303562 w 384333"/>
                <a:gd name="connsiteY20" fmla="*/ 95 h 232056"/>
                <a:gd name="connsiteX21" fmla="*/ 323183 w 384333"/>
                <a:gd name="connsiteY21" fmla="*/ 19717 h 232056"/>
                <a:gd name="connsiteX22" fmla="*/ 303562 w 384333"/>
                <a:gd name="connsiteY22" fmla="*/ 39338 h 232056"/>
                <a:gd name="connsiteX23" fmla="*/ 300704 w 384333"/>
                <a:gd name="connsiteY23" fmla="*/ 39148 h 232056"/>
                <a:gd name="connsiteX24" fmla="*/ 300704 w 384333"/>
                <a:gd name="connsiteY24" fmla="*/ 39433 h 232056"/>
                <a:gd name="connsiteX25" fmla="*/ 72390 w 384333"/>
                <a:gd name="connsiteY25" fmla="*/ 39433 h 232056"/>
                <a:gd name="connsiteX26" fmla="*/ 72390 w 384333"/>
                <a:gd name="connsiteY26" fmla="*/ 39433 h 232056"/>
                <a:gd name="connsiteX27" fmla="*/ 50006 w 384333"/>
                <a:gd name="connsiteY27" fmla="*/ 49149 h 232056"/>
                <a:gd name="connsiteX28" fmla="*/ 39719 w 384333"/>
                <a:gd name="connsiteY28" fmla="*/ 75343 h 232056"/>
                <a:gd name="connsiteX29" fmla="*/ 39434 w 384333"/>
                <a:gd name="connsiteY29" fmla="*/ 75343 h 232056"/>
                <a:gd name="connsiteX30" fmla="*/ 39434 w 384333"/>
                <a:gd name="connsiteY30" fmla="*/ 155067 h 232056"/>
                <a:gd name="connsiteX31" fmla="*/ 39719 w 384333"/>
                <a:gd name="connsiteY31" fmla="*/ 155067 h 232056"/>
                <a:gd name="connsiteX32" fmla="*/ 48006 w 384333"/>
                <a:gd name="connsiteY32" fmla="*/ 181546 h 232056"/>
                <a:gd name="connsiteX33" fmla="*/ 73914 w 384333"/>
                <a:gd name="connsiteY33" fmla="*/ 192691 h 232056"/>
                <a:gd name="connsiteX34" fmla="*/ 73914 w 384333"/>
                <a:gd name="connsiteY34" fmla="*/ 192691 h 232056"/>
                <a:gd name="connsiteX35" fmla="*/ 77343 w 384333"/>
                <a:gd name="connsiteY35" fmla="*/ 192691 h 232056"/>
                <a:gd name="connsiteX36" fmla="*/ 77914 w 384333"/>
                <a:gd name="connsiteY36" fmla="*/ 192405 h 232056"/>
                <a:gd name="connsiteX37" fmla="*/ 77914 w 384333"/>
                <a:gd name="connsiteY37" fmla="*/ 192405 h 232056"/>
                <a:gd name="connsiteX38" fmla="*/ 77914 w 384333"/>
                <a:gd name="connsiteY38" fmla="*/ 192405 h 23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84333" h="232056">
                  <a:moveTo>
                    <a:pt x="77914" y="192405"/>
                  </a:moveTo>
                  <a:lnTo>
                    <a:pt x="363474" y="192405"/>
                  </a:lnTo>
                  <a:lnTo>
                    <a:pt x="363474" y="192500"/>
                  </a:lnTo>
                  <a:cubicBezTo>
                    <a:pt x="363855" y="192500"/>
                    <a:pt x="364331" y="192500"/>
                    <a:pt x="364712" y="192500"/>
                  </a:cubicBezTo>
                  <a:cubicBezTo>
                    <a:pt x="375571" y="192500"/>
                    <a:pt x="384334" y="201263"/>
                    <a:pt x="384334" y="212122"/>
                  </a:cubicBezTo>
                  <a:cubicBezTo>
                    <a:pt x="384334" y="222980"/>
                    <a:pt x="375571" y="231743"/>
                    <a:pt x="364712" y="231743"/>
                  </a:cubicBezTo>
                  <a:cubicBezTo>
                    <a:pt x="364331" y="231743"/>
                    <a:pt x="363855" y="231743"/>
                    <a:pt x="363474" y="231743"/>
                  </a:cubicBezTo>
                  <a:lnTo>
                    <a:pt x="363474" y="231839"/>
                  </a:lnTo>
                  <a:lnTo>
                    <a:pt x="76486" y="231839"/>
                  </a:lnTo>
                  <a:lnTo>
                    <a:pt x="76486" y="231934"/>
                  </a:lnTo>
                  <a:cubicBezTo>
                    <a:pt x="76486" y="231934"/>
                    <a:pt x="46577" y="234791"/>
                    <a:pt x="24003" y="212884"/>
                  </a:cubicBezTo>
                  <a:cubicBezTo>
                    <a:pt x="2286" y="191833"/>
                    <a:pt x="190" y="167164"/>
                    <a:pt x="95" y="159068"/>
                  </a:cubicBezTo>
                  <a:lnTo>
                    <a:pt x="95" y="159068"/>
                  </a:lnTo>
                  <a:lnTo>
                    <a:pt x="95" y="74771"/>
                  </a:lnTo>
                  <a:lnTo>
                    <a:pt x="0" y="74771"/>
                  </a:lnTo>
                  <a:cubicBezTo>
                    <a:pt x="0" y="74771"/>
                    <a:pt x="-95" y="42767"/>
                    <a:pt x="21431" y="20860"/>
                  </a:cubicBezTo>
                  <a:cubicBezTo>
                    <a:pt x="40957" y="952"/>
                    <a:pt x="67723" y="286"/>
                    <a:pt x="72390" y="286"/>
                  </a:cubicBezTo>
                  <a:lnTo>
                    <a:pt x="72390" y="0"/>
                  </a:lnTo>
                  <a:lnTo>
                    <a:pt x="300704" y="0"/>
                  </a:lnTo>
                  <a:lnTo>
                    <a:pt x="300704" y="286"/>
                  </a:lnTo>
                  <a:cubicBezTo>
                    <a:pt x="301657" y="190"/>
                    <a:pt x="302609" y="95"/>
                    <a:pt x="303562" y="95"/>
                  </a:cubicBezTo>
                  <a:cubicBezTo>
                    <a:pt x="314420" y="95"/>
                    <a:pt x="323183" y="8858"/>
                    <a:pt x="323183" y="19717"/>
                  </a:cubicBezTo>
                  <a:cubicBezTo>
                    <a:pt x="323183" y="30575"/>
                    <a:pt x="314420" y="39338"/>
                    <a:pt x="303562" y="39338"/>
                  </a:cubicBezTo>
                  <a:cubicBezTo>
                    <a:pt x="302609" y="39338"/>
                    <a:pt x="301657" y="39243"/>
                    <a:pt x="300704" y="39148"/>
                  </a:cubicBezTo>
                  <a:lnTo>
                    <a:pt x="300704" y="39433"/>
                  </a:lnTo>
                  <a:lnTo>
                    <a:pt x="72390" y="39433"/>
                  </a:lnTo>
                  <a:lnTo>
                    <a:pt x="72390" y="39433"/>
                  </a:lnTo>
                  <a:cubicBezTo>
                    <a:pt x="69628" y="39624"/>
                    <a:pt x="58484" y="40767"/>
                    <a:pt x="50006" y="49149"/>
                  </a:cubicBezTo>
                  <a:cubicBezTo>
                    <a:pt x="39814" y="59245"/>
                    <a:pt x="39719" y="75343"/>
                    <a:pt x="39719" y="75343"/>
                  </a:cubicBezTo>
                  <a:lnTo>
                    <a:pt x="39434" y="75343"/>
                  </a:lnTo>
                  <a:lnTo>
                    <a:pt x="39434" y="155067"/>
                  </a:lnTo>
                  <a:lnTo>
                    <a:pt x="39719" y="155067"/>
                  </a:lnTo>
                  <a:cubicBezTo>
                    <a:pt x="39719" y="155067"/>
                    <a:pt x="38671" y="170021"/>
                    <a:pt x="48006" y="181546"/>
                  </a:cubicBezTo>
                  <a:cubicBezTo>
                    <a:pt x="55531" y="190881"/>
                    <a:pt x="67627" y="192500"/>
                    <a:pt x="73914" y="192691"/>
                  </a:cubicBezTo>
                  <a:lnTo>
                    <a:pt x="73914" y="192691"/>
                  </a:lnTo>
                  <a:lnTo>
                    <a:pt x="77343" y="192691"/>
                  </a:lnTo>
                  <a:cubicBezTo>
                    <a:pt x="77724" y="192405"/>
                    <a:pt x="77914" y="192405"/>
                    <a:pt x="77914" y="192405"/>
                  </a:cubicBezTo>
                  <a:lnTo>
                    <a:pt x="77914" y="192405"/>
                  </a:lnTo>
                  <a:lnTo>
                    <a:pt x="77914" y="1924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5ED77C68-02D4-DC19-F91F-97F518552D8B}"/>
                </a:ext>
              </a:extLst>
            </p:cNvPr>
            <p:cNvSpPr/>
            <p:nvPr/>
          </p:nvSpPr>
          <p:spPr>
            <a:xfrm>
              <a:off x="5542075" y="2905396"/>
              <a:ext cx="283535" cy="56793"/>
            </a:xfrm>
            <a:custGeom>
              <a:avLst/>
              <a:gdLst>
                <a:gd name="connsiteX0" fmla="*/ 281559 w 283535"/>
                <a:gd name="connsiteY0" fmla="*/ 40196 h 56793"/>
                <a:gd name="connsiteX1" fmla="*/ 249079 w 283535"/>
                <a:gd name="connsiteY1" fmla="*/ 10001 h 56793"/>
                <a:gd name="connsiteX2" fmla="*/ 239173 w 283535"/>
                <a:gd name="connsiteY2" fmla="*/ 3048 h 56793"/>
                <a:gd name="connsiteX3" fmla="*/ 224790 w 283535"/>
                <a:gd name="connsiteY3" fmla="*/ 0 h 56793"/>
                <a:gd name="connsiteX4" fmla="*/ 0 w 283535"/>
                <a:gd name="connsiteY4" fmla="*/ 286 h 56793"/>
                <a:gd name="connsiteX5" fmla="*/ 95 w 283535"/>
                <a:gd name="connsiteY5" fmla="*/ 17145 h 56793"/>
                <a:gd name="connsiteX6" fmla="*/ 224409 w 283535"/>
                <a:gd name="connsiteY6" fmla="*/ 17717 h 56793"/>
                <a:gd name="connsiteX7" fmla="*/ 230886 w 283535"/>
                <a:gd name="connsiteY7" fmla="*/ 18955 h 56793"/>
                <a:gd name="connsiteX8" fmla="*/ 237172 w 283535"/>
                <a:gd name="connsiteY8" fmla="*/ 23050 h 56793"/>
                <a:gd name="connsiteX9" fmla="*/ 266700 w 283535"/>
                <a:gd name="connsiteY9" fmla="*/ 53816 h 56793"/>
                <a:gd name="connsiteX10" fmla="*/ 280035 w 283535"/>
                <a:gd name="connsiteY10" fmla="*/ 53721 h 56793"/>
                <a:gd name="connsiteX11" fmla="*/ 281559 w 283535"/>
                <a:gd name="connsiteY11" fmla="*/ 40196 h 56793"/>
                <a:gd name="connsiteX12" fmla="*/ 281559 w 283535"/>
                <a:gd name="connsiteY12" fmla="*/ 40196 h 5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3535" h="56793">
                  <a:moveTo>
                    <a:pt x="281559" y="40196"/>
                  </a:moveTo>
                  <a:lnTo>
                    <a:pt x="249079" y="10001"/>
                  </a:lnTo>
                  <a:cubicBezTo>
                    <a:pt x="249079" y="10001"/>
                    <a:pt x="245174" y="5144"/>
                    <a:pt x="239173" y="3048"/>
                  </a:cubicBezTo>
                  <a:cubicBezTo>
                    <a:pt x="233172" y="953"/>
                    <a:pt x="224790" y="0"/>
                    <a:pt x="224790" y="0"/>
                  </a:cubicBezTo>
                  <a:lnTo>
                    <a:pt x="0" y="286"/>
                  </a:lnTo>
                  <a:lnTo>
                    <a:pt x="95" y="17145"/>
                  </a:lnTo>
                  <a:lnTo>
                    <a:pt x="224409" y="17717"/>
                  </a:lnTo>
                  <a:cubicBezTo>
                    <a:pt x="224409" y="17717"/>
                    <a:pt x="226981" y="17050"/>
                    <a:pt x="230886" y="18955"/>
                  </a:cubicBezTo>
                  <a:cubicBezTo>
                    <a:pt x="234791" y="20955"/>
                    <a:pt x="237172" y="23050"/>
                    <a:pt x="237172" y="23050"/>
                  </a:cubicBezTo>
                  <a:lnTo>
                    <a:pt x="266700" y="53816"/>
                  </a:lnTo>
                  <a:cubicBezTo>
                    <a:pt x="266700" y="53816"/>
                    <a:pt x="272891" y="60579"/>
                    <a:pt x="280035" y="53721"/>
                  </a:cubicBezTo>
                  <a:cubicBezTo>
                    <a:pt x="286893" y="47149"/>
                    <a:pt x="281559" y="40196"/>
                    <a:pt x="281559" y="40196"/>
                  </a:cubicBezTo>
                  <a:lnTo>
                    <a:pt x="281559" y="401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524B18AE-6424-F889-4F4D-59CF3ADBE6D2}"/>
                </a:ext>
              </a:extLst>
            </p:cNvPr>
            <p:cNvSpPr/>
            <p:nvPr/>
          </p:nvSpPr>
          <p:spPr>
            <a:xfrm>
              <a:off x="5786487" y="2922253"/>
              <a:ext cx="9143" cy="9337"/>
            </a:xfrm>
            <a:custGeom>
              <a:avLst/>
              <a:gdLst>
                <a:gd name="connsiteX0" fmla="*/ 9144 w 9143"/>
                <a:gd name="connsiteY0" fmla="*/ 4670 h 9337"/>
                <a:gd name="connsiteX1" fmla="*/ 4572 w 9143"/>
                <a:gd name="connsiteY1" fmla="*/ 9338 h 9337"/>
                <a:gd name="connsiteX2" fmla="*/ 0 w 9143"/>
                <a:gd name="connsiteY2" fmla="*/ 4670 h 9337"/>
                <a:gd name="connsiteX3" fmla="*/ 4572 w 9143"/>
                <a:gd name="connsiteY3" fmla="*/ 3 h 9337"/>
                <a:gd name="connsiteX4" fmla="*/ 9144 w 9143"/>
                <a:gd name="connsiteY4" fmla="*/ 4670 h 9337"/>
                <a:gd name="connsiteX5" fmla="*/ 9144 w 9143"/>
                <a:gd name="connsiteY5" fmla="*/ 4670 h 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" h="9337">
                  <a:moveTo>
                    <a:pt x="9144" y="4670"/>
                  </a:moveTo>
                  <a:cubicBezTo>
                    <a:pt x="9144" y="7242"/>
                    <a:pt x="7048" y="9338"/>
                    <a:pt x="4572" y="9338"/>
                  </a:cubicBezTo>
                  <a:cubicBezTo>
                    <a:pt x="2000" y="9338"/>
                    <a:pt x="0" y="7242"/>
                    <a:pt x="0" y="4670"/>
                  </a:cubicBezTo>
                  <a:cubicBezTo>
                    <a:pt x="0" y="2099"/>
                    <a:pt x="2096" y="3"/>
                    <a:pt x="4572" y="3"/>
                  </a:cubicBezTo>
                  <a:cubicBezTo>
                    <a:pt x="7144" y="-92"/>
                    <a:pt x="9144" y="2003"/>
                    <a:pt x="9144" y="4670"/>
                  </a:cubicBezTo>
                  <a:lnTo>
                    <a:pt x="9144" y="467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1C03781F-EC04-900B-DC8D-753FB36F3C16}"/>
                </a:ext>
              </a:extLst>
            </p:cNvPr>
            <p:cNvSpPr/>
            <p:nvPr/>
          </p:nvSpPr>
          <p:spPr>
            <a:xfrm>
              <a:off x="5787344" y="2923111"/>
              <a:ext cx="7620" cy="73535"/>
            </a:xfrm>
            <a:custGeom>
              <a:avLst/>
              <a:gdLst>
                <a:gd name="connsiteX0" fmla="*/ 7429 w 7620"/>
                <a:gd name="connsiteY0" fmla="*/ 2574 h 73535"/>
                <a:gd name="connsiteX1" fmla="*/ 3524 w 7620"/>
                <a:gd name="connsiteY1" fmla="*/ 2 h 73535"/>
                <a:gd name="connsiteX2" fmla="*/ 0 w 7620"/>
                <a:gd name="connsiteY2" fmla="*/ 2669 h 73535"/>
                <a:gd name="connsiteX3" fmla="*/ 0 w 7620"/>
                <a:gd name="connsiteY3" fmla="*/ 72964 h 73535"/>
                <a:gd name="connsiteX4" fmla="*/ 7620 w 7620"/>
                <a:gd name="connsiteY4" fmla="*/ 73536 h 73535"/>
                <a:gd name="connsiteX5" fmla="*/ 7429 w 7620"/>
                <a:gd name="connsiteY5" fmla="*/ 2574 h 73535"/>
                <a:gd name="connsiteX6" fmla="*/ 7429 w 7620"/>
                <a:gd name="connsiteY6" fmla="*/ 2574 h 7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" h="73535">
                  <a:moveTo>
                    <a:pt x="7429" y="2574"/>
                  </a:moveTo>
                  <a:cubicBezTo>
                    <a:pt x="7429" y="2574"/>
                    <a:pt x="6096" y="-93"/>
                    <a:pt x="3524" y="2"/>
                  </a:cubicBezTo>
                  <a:cubicBezTo>
                    <a:pt x="857" y="98"/>
                    <a:pt x="0" y="2669"/>
                    <a:pt x="0" y="2669"/>
                  </a:cubicBezTo>
                  <a:lnTo>
                    <a:pt x="0" y="72964"/>
                  </a:lnTo>
                  <a:lnTo>
                    <a:pt x="7620" y="73536"/>
                  </a:lnTo>
                  <a:lnTo>
                    <a:pt x="7429" y="2574"/>
                  </a:lnTo>
                  <a:lnTo>
                    <a:pt x="7429" y="257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6788088B-46D8-16FB-599A-116E3BBFD108}"/>
                </a:ext>
              </a:extLst>
            </p:cNvPr>
            <p:cNvSpPr/>
            <p:nvPr/>
          </p:nvSpPr>
          <p:spPr>
            <a:xfrm>
              <a:off x="5411487" y="2969119"/>
              <a:ext cx="70675" cy="124396"/>
            </a:xfrm>
            <a:custGeom>
              <a:avLst/>
              <a:gdLst>
                <a:gd name="connsiteX0" fmla="*/ 53245 w 70675"/>
                <a:gd name="connsiteY0" fmla="*/ 27432 h 124396"/>
                <a:gd name="connsiteX1" fmla="*/ 53245 w 70675"/>
                <a:gd name="connsiteY1" fmla="*/ 0 h 124396"/>
                <a:gd name="connsiteX2" fmla="*/ 70675 w 70675"/>
                <a:gd name="connsiteY2" fmla="*/ 0 h 124396"/>
                <a:gd name="connsiteX3" fmla="*/ 70675 w 70675"/>
                <a:gd name="connsiteY3" fmla="*/ 124396 h 124396"/>
                <a:gd name="connsiteX4" fmla="*/ 53245 w 70675"/>
                <a:gd name="connsiteY4" fmla="*/ 124396 h 124396"/>
                <a:gd name="connsiteX5" fmla="*/ 53245 w 70675"/>
                <a:gd name="connsiteY5" fmla="*/ 45053 h 124396"/>
                <a:gd name="connsiteX6" fmla="*/ 35814 w 70675"/>
                <a:gd name="connsiteY6" fmla="*/ 44958 h 124396"/>
                <a:gd name="connsiteX7" fmla="*/ 23527 w 70675"/>
                <a:gd name="connsiteY7" fmla="*/ 49911 h 124396"/>
                <a:gd name="connsiteX8" fmla="*/ 17717 w 70675"/>
                <a:gd name="connsiteY8" fmla="*/ 62103 h 124396"/>
                <a:gd name="connsiteX9" fmla="*/ 17907 w 70675"/>
                <a:gd name="connsiteY9" fmla="*/ 120205 h 124396"/>
                <a:gd name="connsiteX10" fmla="*/ 381 w 70675"/>
                <a:gd name="connsiteY10" fmla="*/ 123254 h 124396"/>
                <a:gd name="connsiteX11" fmla="*/ 0 w 70675"/>
                <a:gd name="connsiteY11" fmla="*/ 62484 h 124396"/>
                <a:gd name="connsiteX12" fmla="*/ 11716 w 70675"/>
                <a:gd name="connsiteY12" fmla="*/ 35528 h 124396"/>
                <a:gd name="connsiteX13" fmla="*/ 35528 w 70675"/>
                <a:gd name="connsiteY13" fmla="*/ 27051 h 124396"/>
                <a:gd name="connsiteX14" fmla="*/ 53245 w 70675"/>
                <a:gd name="connsiteY14" fmla="*/ 27432 h 124396"/>
                <a:gd name="connsiteX15" fmla="*/ 53245 w 70675"/>
                <a:gd name="connsiteY15" fmla="*/ 27432 h 12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675" h="124396">
                  <a:moveTo>
                    <a:pt x="53245" y="27432"/>
                  </a:moveTo>
                  <a:lnTo>
                    <a:pt x="53245" y="0"/>
                  </a:lnTo>
                  <a:lnTo>
                    <a:pt x="70675" y="0"/>
                  </a:lnTo>
                  <a:lnTo>
                    <a:pt x="70675" y="124396"/>
                  </a:lnTo>
                  <a:lnTo>
                    <a:pt x="53245" y="124396"/>
                  </a:lnTo>
                  <a:lnTo>
                    <a:pt x="53245" y="45053"/>
                  </a:lnTo>
                  <a:lnTo>
                    <a:pt x="35814" y="44958"/>
                  </a:lnTo>
                  <a:cubicBezTo>
                    <a:pt x="35814" y="44958"/>
                    <a:pt x="28575" y="44482"/>
                    <a:pt x="23527" y="49911"/>
                  </a:cubicBezTo>
                  <a:cubicBezTo>
                    <a:pt x="18288" y="55531"/>
                    <a:pt x="17717" y="62103"/>
                    <a:pt x="17717" y="62103"/>
                  </a:cubicBezTo>
                  <a:lnTo>
                    <a:pt x="17907" y="120205"/>
                  </a:lnTo>
                  <a:lnTo>
                    <a:pt x="381" y="123254"/>
                  </a:lnTo>
                  <a:lnTo>
                    <a:pt x="0" y="62484"/>
                  </a:lnTo>
                  <a:cubicBezTo>
                    <a:pt x="0" y="62484"/>
                    <a:pt x="476" y="45529"/>
                    <a:pt x="11716" y="35528"/>
                  </a:cubicBezTo>
                  <a:cubicBezTo>
                    <a:pt x="22574" y="25813"/>
                    <a:pt x="35528" y="27051"/>
                    <a:pt x="35528" y="27051"/>
                  </a:cubicBezTo>
                  <a:lnTo>
                    <a:pt x="53245" y="27432"/>
                  </a:lnTo>
                  <a:lnTo>
                    <a:pt x="53245" y="27432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2BDAFB37-BF69-185E-A6F3-4283E88CFF40}"/>
                </a:ext>
              </a:extLst>
            </p:cNvPr>
            <p:cNvSpPr/>
            <p:nvPr/>
          </p:nvSpPr>
          <p:spPr>
            <a:xfrm>
              <a:off x="5503118" y="3003695"/>
              <a:ext cx="16478" cy="53911"/>
            </a:xfrm>
            <a:custGeom>
              <a:avLst/>
              <a:gdLst>
                <a:gd name="connsiteX0" fmla="*/ 16288 w 16478"/>
                <a:gd name="connsiteY0" fmla="*/ 0 h 53911"/>
                <a:gd name="connsiteX1" fmla="*/ 6953 w 16478"/>
                <a:gd name="connsiteY1" fmla="*/ 190 h 53911"/>
                <a:gd name="connsiteX2" fmla="*/ 2096 w 16478"/>
                <a:gd name="connsiteY2" fmla="*/ 1714 h 53911"/>
                <a:gd name="connsiteX3" fmla="*/ 190 w 16478"/>
                <a:gd name="connsiteY3" fmla="*/ 7048 h 53911"/>
                <a:gd name="connsiteX4" fmla="*/ 0 w 16478"/>
                <a:gd name="connsiteY4" fmla="*/ 53911 h 53911"/>
                <a:gd name="connsiteX5" fmla="*/ 4381 w 16478"/>
                <a:gd name="connsiteY5" fmla="*/ 53626 h 53911"/>
                <a:gd name="connsiteX6" fmla="*/ 4572 w 16478"/>
                <a:gd name="connsiteY6" fmla="*/ 7048 h 53911"/>
                <a:gd name="connsiteX7" fmla="*/ 5143 w 16478"/>
                <a:gd name="connsiteY7" fmla="*/ 4953 h 53911"/>
                <a:gd name="connsiteX8" fmla="*/ 7239 w 16478"/>
                <a:gd name="connsiteY8" fmla="*/ 4381 h 53911"/>
                <a:gd name="connsiteX9" fmla="*/ 16478 w 16478"/>
                <a:gd name="connsiteY9" fmla="*/ 4572 h 53911"/>
                <a:gd name="connsiteX10" fmla="*/ 16288 w 16478"/>
                <a:gd name="connsiteY10" fmla="*/ 0 h 53911"/>
                <a:gd name="connsiteX11" fmla="*/ 16288 w 16478"/>
                <a:gd name="connsiteY11" fmla="*/ 0 h 53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78" h="53911">
                  <a:moveTo>
                    <a:pt x="16288" y="0"/>
                  </a:moveTo>
                  <a:lnTo>
                    <a:pt x="6953" y="190"/>
                  </a:lnTo>
                  <a:cubicBezTo>
                    <a:pt x="6953" y="190"/>
                    <a:pt x="4191" y="-286"/>
                    <a:pt x="2096" y="1714"/>
                  </a:cubicBezTo>
                  <a:cubicBezTo>
                    <a:pt x="-95" y="3810"/>
                    <a:pt x="190" y="7048"/>
                    <a:pt x="190" y="7048"/>
                  </a:cubicBezTo>
                  <a:lnTo>
                    <a:pt x="0" y="53911"/>
                  </a:lnTo>
                  <a:lnTo>
                    <a:pt x="4381" y="53626"/>
                  </a:lnTo>
                  <a:lnTo>
                    <a:pt x="4572" y="7048"/>
                  </a:lnTo>
                  <a:cubicBezTo>
                    <a:pt x="4572" y="7048"/>
                    <a:pt x="4286" y="5715"/>
                    <a:pt x="5143" y="4953"/>
                  </a:cubicBezTo>
                  <a:cubicBezTo>
                    <a:pt x="5810" y="4286"/>
                    <a:pt x="7239" y="4381"/>
                    <a:pt x="7239" y="4381"/>
                  </a:cubicBezTo>
                  <a:lnTo>
                    <a:pt x="16478" y="4572"/>
                  </a:lnTo>
                  <a:lnTo>
                    <a:pt x="16288" y="0"/>
                  </a:lnTo>
                  <a:lnTo>
                    <a:pt x="16288" y="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B53D1BE7-FDB6-3F5A-2CDD-9A584C84061D}"/>
                </a:ext>
              </a:extLst>
            </p:cNvPr>
            <p:cNvSpPr/>
            <p:nvPr/>
          </p:nvSpPr>
          <p:spPr>
            <a:xfrm>
              <a:off x="5525883" y="3050457"/>
              <a:ext cx="376237" cy="46678"/>
            </a:xfrm>
            <a:custGeom>
              <a:avLst/>
              <a:gdLst>
                <a:gd name="connsiteX0" fmla="*/ 10763 w 376237"/>
                <a:gd name="connsiteY0" fmla="*/ 33915 h 46678"/>
                <a:gd name="connsiteX1" fmla="*/ 359664 w 376237"/>
                <a:gd name="connsiteY1" fmla="*/ 33819 h 46678"/>
                <a:gd name="connsiteX2" fmla="*/ 365093 w 376237"/>
                <a:gd name="connsiteY2" fmla="*/ 31819 h 46678"/>
                <a:gd name="connsiteX3" fmla="*/ 368617 w 376237"/>
                <a:gd name="connsiteY3" fmla="*/ 25723 h 46678"/>
                <a:gd name="connsiteX4" fmla="*/ 376238 w 376237"/>
                <a:gd name="connsiteY4" fmla="*/ 30200 h 46678"/>
                <a:gd name="connsiteX5" fmla="*/ 370237 w 376237"/>
                <a:gd name="connsiteY5" fmla="*/ 40296 h 46678"/>
                <a:gd name="connsiteX6" fmla="*/ 359569 w 376237"/>
                <a:gd name="connsiteY6" fmla="*/ 43630 h 46678"/>
                <a:gd name="connsiteX7" fmla="*/ 10382 w 376237"/>
                <a:gd name="connsiteY7" fmla="*/ 43440 h 46678"/>
                <a:gd name="connsiteX8" fmla="*/ 10287 w 376237"/>
                <a:gd name="connsiteY8" fmla="*/ 46678 h 46678"/>
                <a:gd name="connsiteX9" fmla="*/ 381 w 376237"/>
                <a:gd name="connsiteY9" fmla="*/ 45916 h 46678"/>
                <a:gd name="connsiteX10" fmla="*/ 0 w 376237"/>
                <a:gd name="connsiteY10" fmla="*/ 5149 h 46678"/>
                <a:gd name="connsiteX11" fmla="*/ 5239 w 376237"/>
                <a:gd name="connsiteY11" fmla="*/ 5 h 46678"/>
                <a:gd name="connsiteX12" fmla="*/ 10573 w 376237"/>
                <a:gd name="connsiteY12" fmla="*/ 4673 h 46678"/>
                <a:gd name="connsiteX13" fmla="*/ 10763 w 376237"/>
                <a:gd name="connsiteY13" fmla="*/ 33915 h 46678"/>
                <a:gd name="connsiteX14" fmla="*/ 10763 w 376237"/>
                <a:gd name="connsiteY14" fmla="*/ 33915 h 46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6237" h="46678">
                  <a:moveTo>
                    <a:pt x="10763" y="33915"/>
                  </a:moveTo>
                  <a:lnTo>
                    <a:pt x="359664" y="33819"/>
                  </a:lnTo>
                  <a:cubicBezTo>
                    <a:pt x="359664" y="33819"/>
                    <a:pt x="363760" y="33915"/>
                    <a:pt x="365093" y="31819"/>
                  </a:cubicBezTo>
                  <a:cubicBezTo>
                    <a:pt x="366427" y="29724"/>
                    <a:pt x="368617" y="25723"/>
                    <a:pt x="368617" y="25723"/>
                  </a:cubicBezTo>
                  <a:lnTo>
                    <a:pt x="376238" y="30200"/>
                  </a:lnTo>
                  <a:cubicBezTo>
                    <a:pt x="376238" y="30200"/>
                    <a:pt x="375571" y="36391"/>
                    <a:pt x="370237" y="40296"/>
                  </a:cubicBezTo>
                  <a:cubicBezTo>
                    <a:pt x="364903" y="44201"/>
                    <a:pt x="359569" y="43630"/>
                    <a:pt x="359569" y="43630"/>
                  </a:cubicBezTo>
                  <a:lnTo>
                    <a:pt x="10382" y="43440"/>
                  </a:lnTo>
                  <a:lnTo>
                    <a:pt x="10287" y="46678"/>
                  </a:lnTo>
                  <a:lnTo>
                    <a:pt x="381" y="45916"/>
                  </a:lnTo>
                  <a:lnTo>
                    <a:pt x="0" y="5149"/>
                  </a:lnTo>
                  <a:cubicBezTo>
                    <a:pt x="0" y="5149"/>
                    <a:pt x="476" y="196"/>
                    <a:pt x="5239" y="5"/>
                  </a:cubicBezTo>
                  <a:cubicBezTo>
                    <a:pt x="10001" y="-185"/>
                    <a:pt x="10573" y="4673"/>
                    <a:pt x="10573" y="4673"/>
                  </a:cubicBezTo>
                  <a:lnTo>
                    <a:pt x="10763" y="33915"/>
                  </a:lnTo>
                  <a:lnTo>
                    <a:pt x="10763" y="339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3" name="Freihandform: Form 202">
              <a:extLst>
                <a:ext uri="{FF2B5EF4-FFF2-40B4-BE49-F238E27FC236}">
                  <a16:creationId xmlns:a16="http://schemas.microsoft.com/office/drawing/2014/main" id="{F1349D8E-D292-D43D-86FD-9D6C0571CE33}"/>
                </a:ext>
              </a:extLst>
            </p:cNvPr>
            <p:cNvSpPr/>
            <p:nvPr/>
          </p:nvSpPr>
          <p:spPr>
            <a:xfrm>
              <a:off x="5501880" y="3052939"/>
              <a:ext cx="9429" cy="43433"/>
            </a:xfrm>
            <a:custGeom>
              <a:avLst/>
              <a:gdLst>
                <a:gd name="connsiteX0" fmla="*/ 9430 w 9429"/>
                <a:gd name="connsiteY0" fmla="*/ 43434 h 43433"/>
                <a:gd name="connsiteX1" fmla="*/ 9430 w 9429"/>
                <a:gd name="connsiteY1" fmla="*/ 0 h 43433"/>
                <a:gd name="connsiteX2" fmla="*/ 0 w 9429"/>
                <a:gd name="connsiteY2" fmla="*/ 0 h 43433"/>
                <a:gd name="connsiteX3" fmla="*/ 0 w 9429"/>
                <a:gd name="connsiteY3" fmla="*/ 43434 h 43433"/>
                <a:gd name="connsiteX4" fmla="*/ 9430 w 9429"/>
                <a:gd name="connsiteY4" fmla="*/ 43434 h 4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29" h="43433">
                  <a:moveTo>
                    <a:pt x="9430" y="43434"/>
                  </a:moveTo>
                  <a:lnTo>
                    <a:pt x="9430" y="0"/>
                  </a:lnTo>
                  <a:lnTo>
                    <a:pt x="0" y="0"/>
                  </a:lnTo>
                  <a:lnTo>
                    <a:pt x="0" y="43434"/>
                  </a:lnTo>
                  <a:lnTo>
                    <a:pt x="9430" y="434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45F37173-AA3E-70FE-FA39-518A9506F777}"/>
                </a:ext>
              </a:extLst>
            </p:cNvPr>
            <p:cNvSpPr/>
            <p:nvPr/>
          </p:nvSpPr>
          <p:spPr>
            <a:xfrm>
              <a:off x="5500355" y="3089515"/>
              <a:ext cx="12001" cy="1904"/>
            </a:xfrm>
            <a:custGeom>
              <a:avLst/>
              <a:gdLst>
                <a:gd name="connsiteX0" fmla="*/ 12002 w 12001"/>
                <a:gd name="connsiteY0" fmla="*/ 1905 h 1904"/>
                <a:gd name="connsiteX1" fmla="*/ 12002 w 12001"/>
                <a:gd name="connsiteY1" fmla="*/ 0 h 1904"/>
                <a:gd name="connsiteX2" fmla="*/ 0 w 12001"/>
                <a:gd name="connsiteY2" fmla="*/ 0 h 1904"/>
                <a:gd name="connsiteX3" fmla="*/ 0 w 12001"/>
                <a:gd name="connsiteY3" fmla="*/ 1905 h 1904"/>
                <a:gd name="connsiteX4" fmla="*/ 12002 w 12001"/>
                <a:gd name="connsiteY4" fmla="*/ 1905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01" h="1904">
                  <a:moveTo>
                    <a:pt x="12002" y="1905"/>
                  </a:moveTo>
                  <a:lnTo>
                    <a:pt x="12002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12002" y="190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0FABF4DC-19E8-3944-AE20-4E6EE9155258}"/>
                </a:ext>
              </a:extLst>
            </p:cNvPr>
            <p:cNvSpPr/>
            <p:nvPr/>
          </p:nvSpPr>
          <p:spPr>
            <a:xfrm>
              <a:off x="5461684" y="3045605"/>
              <a:ext cx="23145" cy="2286"/>
            </a:xfrm>
            <a:custGeom>
              <a:avLst/>
              <a:gdLst>
                <a:gd name="connsiteX0" fmla="*/ 23146 w 23145"/>
                <a:gd name="connsiteY0" fmla="*/ 2286 h 2286"/>
                <a:gd name="connsiteX1" fmla="*/ 23146 w 23145"/>
                <a:gd name="connsiteY1" fmla="*/ 0 h 2286"/>
                <a:gd name="connsiteX2" fmla="*/ 0 w 23145"/>
                <a:gd name="connsiteY2" fmla="*/ 0 h 2286"/>
                <a:gd name="connsiteX3" fmla="*/ 0 w 23145"/>
                <a:gd name="connsiteY3" fmla="*/ 2286 h 2286"/>
                <a:gd name="connsiteX4" fmla="*/ 23146 w 23145"/>
                <a:gd name="connsiteY4" fmla="*/ 2286 h 2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45" h="2286">
                  <a:moveTo>
                    <a:pt x="23146" y="2286"/>
                  </a:moveTo>
                  <a:lnTo>
                    <a:pt x="23146" y="0"/>
                  </a:lnTo>
                  <a:lnTo>
                    <a:pt x="0" y="0"/>
                  </a:lnTo>
                  <a:lnTo>
                    <a:pt x="0" y="2286"/>
                  </a:lnTo>
                  <a:lnTo>
                    <a:pt x="23146" y="228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55AA6EC2-208B-64C2-FEF7-7011C6455FC7}"/>
                </a:ext>
              </a:extLst>
            </p:cNvPr>
            <p:cNvSpPr/>
            <p:nvPr/>
          </p:nvSpPr>
          <p:spPr>
            <a:xfrm>
              <a:off x="5413868" y="3045414"/>
              <a:ext cx="18097" cy="2095"/>
            </a:xfrm>
            <a:custGeom>
              <a:avLst/>
              <a:gdLst>
                <a:gd name="connsiteX0" fmla="*/ 18098 w 18097"/>
                <a:gd name="connsiteY0" fmla="*/ 2096 h 2095"/>
                <a:gd name="connsiteX1" fmla="*/ 18098 w 18097"/>
                <a:gd name="connsiteY1" fmla="*/ 0 h 2095"/>
                <a:gd name="connsiteX2" fmla="*/ 0 w 18097"/>
                <a:gd name="connsiteY2" fmla="*/ 0 h 2095"/>
                <a:gd name="connsiteX3" fmla="*/ 0 w 18097"/>
                <a:gd name="connsiteY3" fmla="*/ 2096 h 2095"/>
                <a:gd name="connsiteX4" fmla="*/ 18098 w 18097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97" h="2095">
                  <a:moveTo>
                    <a:pt x="18098" y="2096"/>
                  </a:moveTo>
                  <a:lnTo>
                    <a:pt x="18098" y="0"/>
                  </a:lnTo>
                  <a:lnTo>
                    <a:pt x="0" y="0"/>
                  </a:lnTo>
                  <a:lnTo>
                    <a:pt x="0" y="2096"/>
                  </a:lnTo>
                  <a:lnTo>
                    <a:pt x="18098" y="209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34DF9ECA-EF7F-458B-9379-8D4A271C1E4C}"/>
                </a:ext>
              </a:extLst>
            </p:cNvPr>
            <p:cNvSpPr/>
            <p:nvPr/>
          </p:nvSpPr>
          <p:spPr>
            <a:xfrm>
              <a:off x="5747053" y="2990836"/>
              <a:ext cx="10287" cy="38100"/>
            </a:xfrm>
            <a:custGeom>
              <a:avLst/>
              <a:gdLst>
                <a:gd name="connsiteX0" fmla="*/ 10287 w 10287"/>
                <a:gd name="connsiteY0" fmla="*/ 38100 h 38100"/>
                <a:gd name="connsiteX1" fmla="*/ 10287 w 10287"/>
                <a:gd name="connsiteY1" fmla="*/ 0 h 38100"/>
                <a:gd name="connsiteX2" fmla="*/ 0 w 10287"/>
                <a:gd name="connsiteY2" fmla="*/ 0 h 38100"/>
                <a:gd name="connsiteX3" fmla="*/ 0 w 10287"/>
                <a:gd name="connsiteY3" fmla="*/ 38100 h 38100"/>
                <a:gd name="connsiteX4" fmla="*/ 10287 w 10287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7" h="38100">
                  <a:moveTo>
                    <a:pt x="10287" y="38100"/>
                  </a:moveTo>
                  <a:lnTo>
                    <a:pt x="10287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0287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C700E84C-B8ED-F557-9DB6-618C1ABD5C5F}"/>
                </a:ext>
              </a:extLst>
            </p:cNvPr>
            <p:cNvSpPr/>
            <p:nvPr/>
          </p:nvSpPr>
          <p:spPr>
            <a:xfrm>
              <a:off x="5574174" y="2990931"/>
              <a:ext cx="13049" cy="38100"/>
            </a:xfrm>
            <a:custGeom>
              <a:avLst/>
              <a:gdLst>
                <a:gd name="connsiteX0" fmla="*/ 13049 w 13049"/>
                <a:gd name="connsiteY0" fmla="*/ 38100 h 38100"/>
                <a:gd name="connsiteX1" fmla="*/ 13049 w 13049"/>
                <a:gd name="connsiteY1" fmla="*/ 0 h 38100"/>
                <a:gd name="connsiteX2" fmla="*/ 0 w 13049"/>
                <a:gd name="connsiteY2" fmla="*/ 0 h 38100"/>
                <a:gd name="connsiteX3" fmla="*/ 0 w 13049"/>
                <a:gd name="connsiteY3" fmla="*/ 38100 h 38100"/>
                <a:gd name="connsiteX4" fmla="*/ 13049 w 13049"/>
                <a:gd name="connsiteY4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9" h="38100">
                  <a:moveTo>
                    <a:pt x="13049" y="38100"/>
                  </a:moveTo>
                  <a:lnTo>
                    <a:pt x="13049" y="0"/>
                  </a:lnTo>
                  <a:lnTo>
                    <a:pt x="0" y="0"/>
                  </a:lnTo>
                  <a:lnTo>
                    <a:pt x="0" y="38100"/>
                  </a:lnTo>
                  <a:lnTo>
                    <a:pt x="13049" y="3810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847C490D-813E-B337-C531-61576695BE8E}"/>
                </a:ext>
              </a:extLst>
            </p:cNvPr>
            <p:cNvSpPr/>
            <p:nvPr/>
          </p:nvSpPr>
          <p:spPr>
            <a:xfrm>
              <a:off x="5517310" y="2899777"/>
              <a:ext cx="40957" cy="9810"/>
            </a:xfrm>
            <a:custGeom>
              <a:avLst/>
              <a:gdLst>
                <a:gd name="connsiteX0" fmla="*/ 40958 w 40957"/>
                <a:gd name="connsiteY0" fmla="*/ 9811 h 9810"/>
                <a:gd name="connsiteX1" fmla="*/ 40958 w 40957"/>
                <a:gd name="connsiteY1" fmla="*/ 0 h 9810"/>
                <a:gd name="connsiteX2" fmla="*/ 0 w 40957"/>
                <a:gd name="connsiteY2" fmla="*/ 0 h 9810"/>
                <a:gd name="connsiteX3" fmla="*/ 0 w 40957"/>
                <a:gd name="connsiteY3" fmla="*/ 9811 h 9810"/>
                <a:gd name="connsiteX4" fmla="*/ 40958 w 40957"/>
                <a:gd name="connsiteY4" fmla="*/ 9811 h 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" h="9810">
                  <a:moveTo>
                    <a:pt x="40958" y="9811"/>
                  </a:moveTo>
                  <a:lnTo>
                    <a:pt x="40958" y="0"/>
                  </a:lnTo>
                  <a:lnTo>
                    <a:pt x="0" y="0"/>
                  </a:lnTo>
                  <a:lnTo>
                    <a:pt x="0" y="9811"/>
                  </a:lnTo>
                  <a:lnTo>
                    <a:pt x="40958" y="981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6D230AC1-DEDE-38A9-8329-BF16B5DD8DF6}"/>
                </a:ext>
              </a:extLst>
            </p:cNvPr>
            <p:cNvSpPr/>
            <p:nvPr/>
          </p:nvSpPr>
          <p:spPr>
            <a:xfrm>
              <a:off x="5432252" y="2887585"/>
              <a:ext cx="85629" cy="20097"/>
            </a:xfrm>
            <a:custGeom>
              <a:avLst/>
              <a:gdLst>
                <a:gd name="connsiteX0" fmla="*/ 85058 w 85629"/>
                <a:gd name="connsiteY0" fmla="*/ 15526 h 20097"/>
                <a:gd name="connsiteX1" fmla="*/ 9525 w 85629"/>
                <a:gd name="connsiteY1" fmla="*/ 15050 h 20097"/>
                <a:gd name="connsiteX2" fmla="*/ 6477 w 85629"/>
                <a:gd name="connsiteY2" fmla="*/ 13811 h 20097"/>
                <a:gd name="connsiteX3" fmla="*/ 5239 w 85629"/>
                <a:gd name="connsiteY3" fmla="*/ 10954 h 20097"/>
                <a:gd name="connsiteX4" fmla="*/ 5239 w 85629"/>
                <a:gd name="connsiteY4" fmla="*/ 95 h 20097"/>
                <a:gd name="connsiteX5" fmla="*/ 191 w 85629"/>
                <a:gd name="connsiteY5" fmla="*/ 0 h 20097"/>
                <a:gd name="connsiteX6" fmla="*/ 0 w 85629"/>
                <a:gd name="connsiteY6" fmla="*/ 10763 h 20097"/>
                <a:gd name="connsiteX7" fmla="*/ 2476 w 85629"/>
                <a:gd name="connsiteY7" fmla="*/ 16573 h 20097"/>
                <a:gd name="connsiteX8" fmla="*/ 9334 w 85629"/>
                <a:gd name="connsiteY8" fmla="*/ 20002 h 20097"/>
                <a:gd name="connsiteX9" fmla="*/ 85630 w 85629"/>
                <a:gd name="connsiteY9" fmla="*/ 20098 h 20097"/>
                <a:gd name="connsiteX10" fmla="*/ 85058 w 85629"/>
                <a:gd name="connsiteY10" fmla="*/ 15526 h 20097"/>
                <a:gd name="connsiteX11" fmla="*/ 85058 w 85629"/>
                <a:gd name="connsiteY11" fmla="*/ 15526 h 2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629" h="20097">
                  <a:moveTo>
                    <a:pt x="85058" y="15526"/>
                  </a:moveTo>
                  <a:lnTo>
                    <a:pt x="9525" y="15050"/>
                  </a:lnTo>
                  <a:cubicBezTo>
                    <a:pt x="9525" y="15050"/>
                    <a:pt x="7334" y="15050"/>
                    <a:pt x="6477" y="13811"/>
                  </a:cubicBezTo>
                  <a:cubicBezTo>
                    <a:pt x="5525" y="12573"/>
                    <a:pt x="5239" y="10954"/>
                    <a:pt x="5239" y="10954"/>
                  </a:cubicBezTo>
                  <a:lnTo>
                    <a:pt x="5239" y="95"/>
                  </a:lnTo>
                  <a:lnTo>
                    <a:pt x="191" y="0"/>
                  </a:lnTo>
                  <a:lnTo>
                    <a:pt x="0" y="10763"/>
                  </a:lnTo>
                  <a:cubicBezTo>
                    <a:pt x="0" y="10763"/>
                    <a:pt x="476" y="14288"/>
                    <a:pt x="2476" y="16573"/>
                  </a:cubicBezTo>
                  <a:cubicBezTo>
                    <a:pt x="4477" y="18859"/>
                    <a:pt x="9334" y="20002"/>
                    <a:pt x="9334" y="20002"/>
                  </a:cubicBezTo>
                  <a:lnTo>
                    <a:pt x="85630" y="20098"/>
                  </a:lnTo>
                  <a:lnTo>
                    <a:pt x="85058" y="15526"/>
                  </a:lnTo>
                  <a:lnTo>
                    <a:pt x="85058" y="15526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2C8CCFD7-61F8-B2FA-FD68-46D4C7AE6CF2}"/>
                </a:ext>
              </a:extLst>
            </p:cNvPr>
            <p:cNvSpPr/>
            <p:nvPr/>
          </p:nvSpPr>
          <p:spPr>
            <a:xfrm>
              <a:off x="5519405" y="3003695"/>
              <a:ext cx="267938" cy="4381"/>
            </a:xfrm>
            <a:custGeom>
              <a:avLst/>
              <a:gdLst>
                <a:gd name="connsiteX0" fmla="*/ 267938 w 267938"/>
                <a:gd name="connsiteY0" fmla="*/ 4381 h 4381"/>
                <a:gd name="connsiteX1" fmla="*/ 267938 w 267938"/>
                <a:gd name="connsiteY1" fmla="*/ 0 h 4381"/>
                <a:gd name="connsiteX2" fmla="*/ 0 w 267938"/>
                <a:gd name="connsiteY2" fmla="*/ 0 h 4381"/>
                <a:gd name="connsiteX3" fmla="*/ 0 w 267938"/>
                <a:gd name="connsiteY3" fmla="*/ 4381 h 4381"/>
                <a:gd name="connsiteX4" fmla="*/ 267938 w 267938"/>
                <a:gd name="connsiteY4" fmla="*/ 4381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938" h="4381">
                  <a:moveTo>
                    <a:pt x="267938" y="4381"/>
                  </a:moveTo>
                  <a:lnTo>
                    <a:pt x="267938" y="0"/>
                  </a:lnTo>
                  <a:lnTo>
                    <a:pt x="0" y="0"/>
                  </a:lnTo>
                  <a:lnTo>
                    <a:pt x="0" y="4381"/>
                  </a:lnTo>
                  <a:lnTo>
                    <a:pt x="267938" y="438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64A0AE27-CD2B-0E55-2ECD-4C65049FF1B0}"/>
                </a:ext>
              </a:extLst>
            </p:cNvPr>
            <p:cNvSpPr/>
            <p:nvPr/>
          </p:nvSpPr>
          <p:spPr>
            <a:xfrm>
              <a:off x="5785058" y="2992931"/>
              <a:ext cx="11620" cy="7334"/>
            </a:xfrm>
            <a:custGeom>
              <a:avLst/>
              <a:gdLst>
                <a:gd name="connsiteX0" fmla="*/ 11621 w 11620"/>
                <a:gd name="connsiteY0" fmla="*/ 7334 h 7334"/>
                <a:gd name="connsiteX1" fmla="*/ 11621 w 11620"/>
                <a:gd name="connsiteY1" fmla="*/ 0 h 7334"/>
                <a:gd name="connsiteX2" fmla="*/ 0 w 11620"/>
                <a:gd name="connsiteY2" fmla="*/ 0 h 7334"/>
                <a:gd name="connsiteX3" fmla="*/ 0 w 11620"/>
                <a:gd name="connsiteY3" fmla="*/ 7334 h 7334"/>
                <a:gd name="connsiteX4" fmla="*/ 11621 w 11620"/>
                <a:gd name="connsiteY4" fmla="*/ 7334 h 7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20" h="7334">
                  <a:moveTo>
                    <a:pt x="11621" y="7334"/>
                  </a:moveTo>
                  <a:lnTo>
                    <a:pt x="11621" y="0"/>
                  </a:lnTo>
                  <a:lnTo>
                    <a:pt x="0" y="0"/>
                  </a:lnTo>
                  <a:lnTo>
                    <a:pt x="0" y="7334"/>
                  </a:lnTo>
                  <a:lnTo>
                    <a:pt x="11621" y="733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46B51601-1B4E-D5C1-67F2-5787703EAB83}"/>
                </a:ext>
              </a:extLst>
            </p:cNvPr>
            <p:cNvSpPr/>
            <p:nvPr/>
          </p:nvSpPr>
          <p:spPr>
            <a:xfrm>
              <a:off x="5786201" y="3001028"/>
              <a:ext cx="9810" cy="9620"/>
            </a:xfrm>
            <a:custGeom>
              <a:avLst/>
              <a:gdLst>
                <a:gd name="connsiteX0" fmla="*/ 7429 w 9810"/>
                <a:gd name="connsiteY0" fmla="*/ 9620 h 9620"/>
                <a:gd name="connsiteX1" fmla="*/ 9811 w 9810"/>
                <a:gd name="connsiteY1" fmla="*/ 7239 h 9620"/>
                <a:gd name="connsiteX2" fmla="*/ 9811 w 9810"/>
                <a:gd name="connsiteY2" fmla="*/ 2381 h 9620"/>
                <a:gd name="connsiteX3" fmla="*/ 7429 w 9810"/>
                <a:gd name="connsiteY3" fmla="*/ 0 h 9620"/>
                <a:gd name="connsiteX4" fmla="*/ 2381 w 9810"/>
                <a:gd name="connsiteY4" fmla="*/ 0 h 9620"/>
                <a:gd name="connsiteX5" fmla="*/ 0 w 9810"/>
                <a:gd name="connsiteY5" fmla="*/ 2381 h 9620"/>
                <a:gd name="connsiteX6" fmla="*/ 0 w 9810"/>
                <a:gd name="connsiteY6" fmla="*/ 7239 h 9620"/>
                <a:gd name="connsiteX7" fmla="*/ 2381 w 9810"/>
                <a:gd name="connsiteY7" fmla="*/ 9620 h 9620"/>
                <a:gd name="connsiteX8" fmla="*/ 7429 w 9810"/>
                <a:gd name="connsiteY8" fmla="*/ 9620 h 9620"/>
                <a:gd name="connsiteX9" fmla="*/ 7429 w 9810"/>
                <a:gd name="connsiteY9" fmla="*/ 9620 h 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10" h="9620">
                  <a:moveTo>
                    <a:pt x="7429" y="9620"/>
                  </a:moveTo>
                  <a:cubicBezTo>
                    <a:pt x="8763" y="9620"/>
                    <a:pt x="9811" y="8572"/>
                    <a:pt x="9811" y="7239"/>
                  </a:cubicBezTo>
                  <a:lnTo>
                    <a:pt x="9811" y="2381"/>
                  </a:lnTo>
                  <a:cubicBezTo>
                    <a:pt x="9811" y="1048"/>
                    <a:pt x="8763" y="0"/>
                    <a:pt x="7429" y="0"/>
                  </a:cubicBezTo>
                  <a:lnTo>
                    <a:pt x="2381" y="0"/>
                  </a:lnTo>
                  <a:cubicBezTo>
                    <a:pt x="1048" y="0"/>
                    <a:pt x="0" y="1048"/>
                    <a:pt x="0" y="2381"/>
                  </a:cubicBezTo>
                  <a:lnTo>
                    <a:pt x="0" y="7239"/>
                  </a:lnTo>
                  <a:cubicBezTo>
                    <a:pt x="0" y="8572"/>
                    <a:pt x="1048" y="9620"/>
                    <a:pt x="2381" y="9620"/>
                  </a:cubicBezTo>
                  <a:lnTo>
                    <a:pt x="7429" y="9620"/>
                  </a:lnTo>
                  <a:lnTo>
                    <a:pt x="7429" y="9620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3B9B0D79-117B-6C45-849D-82539C9D5EEC}"/>
                </a:ext>
              </a:extLst>
            </p:cNvPr>
            <p:cNvSpPr/>
            <p:nvPr/>
          </p:nvSpPr>
          <p:spPr>
            <a:xfrm>
              <a:off x="5787439" y="2996646"/>
              <a:ext cx="6286" cy="7715"/>
            </a:xfrm>
            <a:custGeom>
              <a:avLst/>
              <a:gdLst>
                <a:gd name="connsiteX0" fmla="*/ 6287 w 6286"/>
                <a:gd name="connsiteY0" fmla="*/ 7715 h 7715"/>
                <a:gd name="connsiteX1" fmla="*/ 6287 w 6286"/>
                <a:gd name="connsiteY1" fmla="*/ 0 h 7715"/>
                <a:gd name="connsiteX2" fmla="*/ 0 w 6286"/>
                <a:gd name="connsiteY2" fmla="*/ 0 h 7715"/>
                <a:gd name="connsiteX3" fmla="*/ 0 w 6286"/>
                <a:gd name="connsiteY3" fmla="*/ 7715 h 7715"/>
                <a:gd name="connsiteX4" fmla="*/ 6287 w 6286"/>
                <a:gd name="connsiteY4" fmla="*/ 7715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6" h="7715">
                  <a:moveTo>
                    <a:pt x="6287" y="7715"/>
                  </a:moveTo>
                  <a:lnTo>
                    <a:pt x="628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6287" y="7715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633DB73F-3B2C-0B6A-E117-38967293B65A}"/>
                </a:ext>
              </a:extLst>
            </p:cNvPr>
            <p:cNvSpPr/>
            <p:nvPr/>
          </p:nvSpPr>
          <p:spPr>
            <a:xfrm>
              <a:off x="5782010" y="2996837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97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F608C00C-60FF-9740-70B5-F1ED39CF4F6F}"/>
                </a:ext>
              </a:extLst>
            </p:cNvPr>
            <p:cNvSpPr/>
            <p:nvPr/>
          </p:nvSpPr>
          <p:spPr>
            <a:xfrm>
              <a:off x="5790773" y="3007505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8" name="Freihandform: Form 217">
              <a:extLst>
                <a:ext uri="{FF2B5EF4-FFF2-40B4-BE49-F238E27FC236}">
                  <a16:creationId xmlns:a16="http://schemas.microsoft.com/office/drawing/2014/main" id="{E55BF099-50F7-7975-E1D0-7A85FD1A462F}"/>
                </a:ext>
              </a:extLst>
            </p:cNvPr>
            <p:cNvSpPr/>
            <p:nvPr/>
          </p:nvSpPr>
          <p:spPr>
            <a:xfrm>
              <a:off x="5782486" y="3005980"/>
              <a:ext cx="7524" cy="2095"/>
            </a:xfrm>
            <a:custGeom>
              <a:avLst/>
              <a:gdLst>
                <a:gd name="connsiteX0" fmla="*/ 95 w 7524"/>
                <a:gd name="connsiteY0" fmla="*/ 2096 h 2095"/>
                <a:gd name="connsiteX1" fmla="*/ 7525 w 7524"/>
                <a:gd name="connsiteY1" fmla="*/ 762 h 2095"/>
                <a:gd name="connsiteX2" fmla="*/ 7334 w 7524"/>
                <a:gd name="connsiteY2" fmla="*/ 0 h 2095"/>
                <a:gd name="connsiteX3" fmla="*/ 0 w 7524"/>
                <a:gd name="connsiteY3" fmla="*/ 1333 h 2095"/>
                <a:gd name="connsiteX4" fmla="*/ 95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95" y="2096"/>
                  </a:moveTo>
                  <a:lnTo>
                    <a:pt x="7525" y="762"/>
                  </a:lnTo>
                  <a:lnTo>
                    <a:pt x="7334" y="0"/>
                  </a:lnTo>
                  <a:lnTo>
                    <a:pt x="0" y="1333"/>
                  </a:lnTo>
                  <a:lnTo>
                    <a:pt x="95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14F5CD28-3B2E-E38E-CE54-4C0E86C029A5}"/>
                </a:ext>
              </a:extLst>
            </p:cNvPr>
            <p:cNvSpPr/>
            <p:nvPr/>
          </p:nvSpPr>
          <p:spPr>
            <a:xfrm>
              <a:off x="5785248" y="2999122"/>
              <a:ext cx="5143" cy="5524"/>
            </a:xfrm>
            <a:custGeom>
              <a:avLst/>
              <a:gdLst>
                <a:gd name="connsiteX0" fmla="*/ 0 w 5143"/>
                <a:gd name="connsiteY0" fmla="*/ 476 h 5524"/>
                <a:gd name="connsiteX1" fmla="*/ 4572 w 5143"/>
                <a:gd name="connsiteY1" fmla="*/ 5525 h 5524"/>
                <a:gd name="connsiteX2" fmla="*/ 5143 w 5143"/>
                <a:gd name="connsiteY2" fmla="*/ 5048 h 5524"/>
                <a:gd name="connsiteX3" fmla="*/ 571 w 5143"/>
                <a:gd name="connsiteY3" fmla="*/ 0 h 5524"/>
                <a:gd name="connsiteX4" fmla="*/ 0 w 5143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476"/>
                  </a:moveTo>
                  <a:lnTo>
                    <a:pt x="4572" y="5525"/>
                  </a:lnTo>
                  <a:lnTo>
                    <a:pt x="5143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A4E76AE8-AD0A-E1B9-671C-9A8EDF59C891}"/>
                </a:ext>
              </a:extLst>
            </p:cNvPr>
            <p:cNvSpPr/>
            <p:nvPr/>
          </p:nvSpPr>
          <p:spPr>
            <a:xfrm>
              <a:off x="5791630" y="2998265"/>
              <a:ext cx="4191" cy="6191"/>
            </a:xfrm>
            <a:custGeom>
              <a:avLst/>
              <a:gdLst>
                <a:gd name="connsiteX0" fmla="*/ 3620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620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620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620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6C2964F4-303C-9CB5-581F-9108F54227BC}"/>
                </a:ext>
              </a:extLst>
            </p:cNvPr>
            <p:cNvSpPr/>
            <p:nvPr/>
          </p:nvSpPr>
          <p:spPr>
            <a:xfrm>
              <a:off x="5792678" y="3005885"/>
              <a:ext cx="6858" cy="2571"/>
            </a:xfrm>
            <a:custGeom>
              <a:avLst/>
              <a:gdLst>
                <a:gd name="connsiteX0" fmla="*/ 6858 w 6858"/>
                <a:gd name="connsiteY0" fmla="*/ 1810 h 2571"/>
                <a:gd name="connsiteX1" fmla="*/ 191 w 6858"/>
                <a:gd name="connsiteY1" fmla="*/ 0 h 2571"/>
                <a:gd name="connsiteX2" fmla="*/ 0 w 6858"/>
                <a:gd name="connsiteY2" fmla="*/ 762 h 2571"/>
                <a:gd name="connsiteX3" fmla="*/ 6667 w 6858"/>
                <a:gd name="connsiteY3" fmla="*/ 2572 h 2571"/>
                <a:gd name="connsiteX4" fmla="*/ 6858 w 6858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58" h="2571">
                  <a:moveTo>
                    <a:pt x="6858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667" y="2572"/>
                  </a:lnTo>
                  <a:lnTo>
                    <a:pt x="6858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2" name="Freihandform: Form 221">
              <a:extLst>
                <a:ext uri="{FF2B5EF4-FFF2-40B4-BE49-F238E27FC236}">
                  <a16:creationId xmlns:a16="http://schemas.microsoft.com/office/drawing/2014/main" id="{7E3C8922-9155-0649-89FB-D5829648524D}"/>
                </a:ext>
              </a:extLst>
            </p:cNvPr>
            <p:cNvSpPr/>
            <p:nvPr/>
          </p:nvSpPr>
          <p:spPr>
            <a:xfrm>
              <a:off x="5789154" y="3003599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8"/>
                    <a:pt x="3238" y="4191"/>
                    <a:pt x="2096" y="4191"/>
                  </a:cubicBezTo>
                  <a:cubicBezTo>
                    <a:pt x="952" y="4191"/>
                    <a:pt x="0" y="3238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238" y="95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6C1881E5-0875-4B7C-3D81-DC1914030FD8}"/>
                </a:ext>
              </a:extLst>
            </p:cNvPr>
            <p:cNvSpPr/>
            <p:nvPr/>
          </p:nvSpPr>
          <p:spPr>
            <a:xfrm>
              <a:off x="5853733" y="308103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7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5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7"/>
                    <a:pt x="9049" y="18097"/>
                  </a:cubicBezTo>
                  <a:cubicBezTo>
                    <a:pt x="4000" y="18097"/>
                    <a:pt x="0" y="14002"/>
                    <a:pt x="0" y="9049"/>
                  </a:cubicBezTo>
                  <a:cubicBezTo>
                    <a:pt x="0" y="4000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5"/>
                    <a:pt x="9049" y="17335"/>
                  </a:cubicBezTo>
                  <a:cubicBezTo>
                    <a:pt x="4477" y="17335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89" name="Freihandform: Form 888">
              <a:extLst>
                <a:ext uri="{FF2B5EF4-FFF2-40B4-BE49-F238E27FC236}">
                  <a16:creationId xmlns:a16="http://schemas.microsoft.com/office/drawing/2014/main" id="{2CFB3289-9E9A-BCCB-3A38-188E352B55F7}"/>
                </a:ext>
              </a:extLst>
            </p:cNvPr>
            <p:cNvSpPr/>
            <p:nvPr/>
          </p:nvSpPr>
          <p:spPr>
            <a:xfrm>
              <a:off x="5862401" y="3091705"/>
              <a:ext cx="761" cy="6762"/>
            </a:xfrm>
            <a:custGeom>
              <a:avLst/>
              <a:gdLst>
                <a:gd name="connsiteX0" fmla="*/ 762 w 761"/>
                <a:gd name="connsiteY0" fmla="*/ 6763 h 6762"/>
                <a:gd name="connsiteX1" fmla="*/ 762 w 761"/>
                <a:gd name="connsiteY1" fmla="*/ 0 h 6762"/>
                <a:gd name="connsiteX2" fmla="*/ 0 w 761"/>
                <a:gd name="connsiteY2" fmla="*/ 0 h 6762"/>
                <a:gd name="connsiteX3" fmla="*/ 0 w 761"/>
                <a:gd name="connsiteY3" fmla="*/ 6763 h 6762"/>
                <a:gd name="connsiteX4" fmla="*/ 762 w 761"/>
                <a:gd name="connsiteY4" fmla="*/ 6763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" h="6762">
                  <a:moveTo>
                    <a:pt x="762" y="6763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763"/>
                  </a:lnTo>
                  <a:lnTo>
                    <a:pt x="762" y="676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0" name="Freihandform: Form 889">
              <a:extLst>
                <a:ext uri="{FF2B5EF4-FFF2-40B4-BE49-F238E27FC236}">
                  <a16:creationId xmlns:a16="http://schemas.microsoft.com/office/drawing/2014/main" id="{DED46169-7CD9-15B6-3906-4F269B2BE5B4}"/>
                </a:ext>
              </a:extLst>
            </p:cNvPr>
            <p:cNvSpPr/>
            <p:nvPr/>
          </p:nvSpPr>
          <p:spPr>
            <a:xfrm>
              <a:off x="5854114" y="3090181"/>
              <a:ext cx="7524" cy="2095"/>
            </a:xfrm>
            <a:custGeom>
              <a:avLst/>
              <a:gdLst>
                <a:gd name="connsiteX0" fmla="*/ 191 w 7524"/>
                <a:gd name="connsiteY0" fmla="*/ 2096 h 2095"/>
                <a:gd name="connsiteX1" fmla="*/ 7525 w 7524"/>
                <a:gd name="connsiteY1" fmla="*/ 667 h 2095"/>
                <a:gd name="connsiteX2" fmla="*/ 7429 w 7524"/>
                <a:gd name="connsiteY2" fmla="*/ 0 h 2095"/>
                <a:gd name="connsiteX3" fmla="*/ 0 w 7524"/>
                <a:gd name="connsiteY3" fmla="*/ 1334 h 2095"/>
                <a:gd name="connsiteX4" fmla="*/ 191 w 7524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" h="2095">
                  <a:moveTo>
                    <a:pt x="191" y="2096"/>
                  </a:moveTo>
                  <a:lnTo>
                    <a:pt x="7525" y="667"/>
                  </a:lnTo>
                  <a:lnTo>
                    <a:pt x="7429" y="0"/>
                  </a:lnTo>
                  <a:lnTo>
                    <a:pt x="0" y="1334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1" name="Freihandform: Form 890">
              <a:extLst>
                <a:ext uri="{FF2B5EF4-FFF2-40B4-BE49-F238E27FC236}">
                  <a16:creationId xmlns:a16="http://schemas.microsoft.com/office/drawing/2014/main" id="{1EE20AB7-9327-F59A-FBEA-A966E482213D}"/>
                </a:ext>
              </a:extLst>
            </p:cNvPr>
            <p:cNvSpPr/>
            <p:nvPr/>
          </p:nvSpPr>
          <p:spPr>
            <a:xfrm>
              <a:off x="5856876" y="3083324"/>
              <a:ext cx="5238" cy="5524"/>
            </a:xfrm>
            <a:custGeom>
              <a:avLst/>
              <a:gdLst>
                <a:gd name="connsiteX0" fmla="*/ 0 w 5238"/>
                <a:gd name="connsiteY0" fmla="*/ 476 h 5524"/>
                <a:gd name="connsiteX1" fmla="*/ 4667 w 5238"/>
                <a:gd name="connsiteY1" fmla="*/ 5524 h 5524"/>
                <a:gd name="connsiteX2" fmla="*/ 5239 w 5238"/>
                <a:gd name="connsiteY2" fmla="*/ 5048 h 5524"/>
                <a:gd name="connsiteX3" fmla="*/ 571 w 5238"/>
                <a:gd name="connsiteY3" fmla="*/ 0 h 5524"/>
                <a:gd name="connsiteX4" fmla="*/ 0 w 5238"/>
                <a:gd name="connsiteY4" fmla="*/ 476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" h="5524">
                  <a:moveTo>
                    <a:pt x="0" y="476"/>
                  </a:moveTo>
                  <a:lnTo>
                    <a:pt x="4667" y="5524"/>
                  </a:lnTo>
                  <a:lnTo>
                    <a:pt x="5239" y="5048"/>
                  </a:lnTo>
                  <a:lnTo>
                    <a:pt x="571" y="0"/>
                  </a:lnTo>
                  <a:lnTo>
                    <a:pt x="0" y="47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2" name="Freihandform: Form 891">
              <a:extLst>
                <a:ext uri="{FF2B5EF4-FFF2-40B4-BE49-F238E27FC236}">
                  <a16:creationId xmlns:a16="http://schemas.microsoft.com/office/drawing/2014/main" id="{9BDF8F32-09C3-ECE1-9D9A-1E79AA509A4D}"/>
                </a:ext>
              </a:extLst>
            </p:cNvPr>
            <p:cNvSpPr/>
            <p:nvPr/>
          </p:nvSpPr>
          <p:spPr>
            <a:xfrm>
              <a:off x="5863353" y="3082466"/>
              <a:ext cx="4191" cy="6191"/>
            </a:xfrm>
            <a:custGeom>
              <a:avLst/>
              <a:gdLst>
                <a:gd name="connsiteX0" fmla="*/ 3524 w 4191"/>
                <a:gd name="connsiteY0" fmla="*/ 0 h 6191"/>
                <a:gd name="connsiteX1" fmla="*/ 0 w 4191"/>
                <a:gd name="connsiteY1" fmla="*/ 5810 h 6191"/>
                <a:gd name="connsiteX2" fmla="*/ 667 w 4191"/>
                <a:gd name="connsiteY2" fmla="*/ 6191 h 6191"/>
                <a:gd name="connsiteX3" fmla="*/ 4191 w 4191"/>
                <a:gd name="connsiteY3" fmla="*/ 381 h 6191"/>
                <a:gd name="connsiteX4" fmla="*/ 3524 w 4191"/>
                <a:gd name="connsiteY4" fmla="*/ 0 h 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191">
                  <a:moveTo>
                    <a:pt x="3524" y="0"/>
                  </a:moveTo>
                  <a:lnTo>
                    <a:pt x="0" y="5810"/>
                  </a:lnTo>
                  <a:lnTo>
                    <a:pt x="667" y="6191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3" name="Freihandform: Form 892">
              <a:extLst>
                <a:ext uri="{FF2B5EF4-FFF2-40B4-BE49-F238E27FC236}">
                  <a16:creationId xmlns:a16="http://schemas.microsoft.com/office/drawing/2014/main" id="{971F92F9-2CC9-A89B-CBC5-1549A5D06832}"/>
                </a:ext>
              </a:extLst>
            </p:cNvPr>
            <p:cNvSpPr/>
            <p:nvPr/>
          </p:nvSpPr>
          <p:spPr>
            <a:xfrm>
              <a:off x="5864401" y="3090086"/>
              <a:ext cx="6762" cy="2571"/>
            </a:xfrm>
            <a:custGeom>
              <a:avLst/>
              <a:gdLst>
                <a:gd name="connsiteX0" fmla="*/ 6763 w 6762"/>
                <a:gd name="connsiteY0" fmla="*/ 1810 h 2571"/>
                <a:gd name="connsiteX1" fmla="*/ 191 w 6762"/>
                <a:gd name="connsiteY1" fmla="*/ 0 h 2571"/>
                <a:gd name="connsiteX2" fmla="*/ 0 w 6762"/>
                <a:gd name="connsiteY2" fmla="*/ 762 h 2571"/>
                <a:gd name="connsiteX3" fmla="*/ 6572 w 6762"/>
                <a:gd name="connsiteY3" fmla="*/ 2572 h 2571"/>
                <a:gd name="connsiteX4" fmla="*/ 6763 w 6762"/>
                <a:gd name="connsiteY4" fmla="*/ 1810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571">
                  <a:moveTo>
                    <a:pt x="6763" y="1810"/>
                  </a:moveTo>
                  <a:lnTo>
                    <a:pt x="191" y="0"/>
                  </a:lnTo>
                  <a:lnTo>
                    <a:pt x="0" y="762"/>
                  </a:lnTo>
                  <a:lnTo>
                    <a:pt x="6572" y="2572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4" name="Freihandform: Form 893">
              <a:extLst>
                <a:ext uri="{FF2B5EF4-FFF2-40B4-BE49-F238E27FC236}">
                  <a16:creationId xmlns:a16="http://schemas.microsoft.com/office/drawing/2014/main" id="{AC6288B9-AF71-8D37-1856-C6F56015B4A4}"/>
                </a:ext>
              </a:extLst>
            </p:cNvPr>
            <p:cNvSpPr/>
            <p:nvPr/>
          </p:nvSpPr>
          <p:spPr>
            <a:xfrm>
              <a:off x="5860781" y="3087800"/>
              <a:ext cx="4191" cy="4191"/>
            </a:xfrm>
            <a:custGeom>
              <a:avLst/>
              <a:gdLst>
                <a:gd name="connsiteX0" fmla="*/ 4191 w 4191"/>
                <a:gd name="connsiteY0" fmla="*/ 2096 h 4191"/>
                <a:gd name="connsiteX1" fmla="*/ 2096 w 4191"/>
                <a:gd name="connsiteY1" fmla="*/ 4191 h 4191"/>
                <a:gd name="connsiteX2" fmla="*/ 0 w 4191"/>
                <a:gd name="connsiteY2" fmla="*/ 2096 h 4191"/>
                <a:gd name="connsiteX3" fmla="*/ 2096 w 4191"/>
                <a:gd name="connsiteY3" fmla="*/ 0 h 4191"/>
                <a:gd name="connsiteX4" fmla="*/ 4191 w 4191"/>
                <a:gd name="connsiteY4" fmla="*/ 2096 h 4191"/>
                <a:gd name="connsiteX5" fmla="*/ 4191 w 4191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" h="4191">
                  <a:moveTo>
                    <a:pt x="4191" y="2096"/>
                  </a:moveTo>
                  <a:cubicBezTo>
                    <a:pt x="4191" y="3239"/>
                    <a:pt x="3239" y="4191"/>
                    <a:pt x="2096" y="4191"/>
                  </a:cubicBezTo>
                  <a:cubicBezTo>
                    <a:pt x="953" y="4191"/>
                    <a:pt x="0" y="3239"/>
                    <a:pt x="0" y="2096"/>
                  </a:cubicBezTo>
                  <a:cubicBezTo>
                    <a:pt x="0" y="953"/>
                    <a:pt x="953" y="0"/>
                    <a:pt x="2096" y="0"/>
                  </a:cubicBezTo>
                  <a:cubicBezTo>
                    <a:pt x="3239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5" name="Freihandform: Form 894">
              <a:extLst>
                <a:ext uri="{FF2B5EF4-FFF2-40B4-BE49-F238E27FC236}">
                  <a16:creationId xmlns:a16="http://schemas.microsoft.com/office/drawing/2014/main" id="{DB939095-03A8-F4EB-5A1F-F1FAB0139EFB}"/>
                </a:ext>
              </a:extLst>
            </p:cNvPr>
            <p:cNvSpPr/>
            <p:nvPr/>
          </p:nvSpPr>
          <p:spPr>
            <a:xfrm>
              <a:off x="5476734" y="2873488"/>
              <a:ext cx="18097" cy="18097"/>
            </a:xfrm>
            <a:custGeom>
              <a:avLst/>
              <a:gdLst>
                <a:gd name="connsiteX0" fmla="*/ 18097 w 18097"/>
                <a:gd name="connsiteY0" fmla="*/ 9049 h 18097"/>
                <a:gd name="connsiteX1" fmla="*/ 9049 w 18097"/>
                <a:gd name="connsiteY1" fmla="*/ 18098 h 18097"/>
                <a:gd name="connsiteX2" fmla="*/ 0 w 18097"/>
                <a:gd name="connsiteY2" fmla="*/ 9049 h 18097"/>
                <a:gd name="connsiteX3" fmla="*/ 9049 w 18097"/>
                <a:gd name="connsiteY3" fmla="*/ 0 h 18097"/>
                <a:gd name="connsiteX4" fmla="*/ 18097 w 18097"/>
                <a:gd name="connsiteY4" fmla="*/ 9049 h 18097"/>
                <a:gd name="connsiteX5" fmla="*/ 18097 w 18097"/>
                <a:gd name="connsiteY5" fmla="*/ 9049 h 18097"/>
                <a:gd name="connsiteX6" fmla="*/ 17335 w 18097"/>
                <a:gd name="connsiteY6" fmla="*/ 9049 h 18097"/>
                <a:gd name="connsiteX7" fmla="*/ 9049 w 18097"/>
                <a:gd name="connsiteY7" fmla="*/ 17336 h 18097"/>
                <a:gd name="connsiteX8" fmla="*/ 762 w 18097"/>
                <a:gd name="connsiteY8" fmla="*/ 9049 h 18097"/>
                <a:gd name="connsiteX9" fmla="*/ 9049 w 18097"/>
                <a:gd name="connsiteY9" fmla="*/ 762 h 18097"/>
                <a:gd name="connsiteX10" fmla="*/ 17335 w 18097"/>
                <a:gd name="connsiteY10" fmla="*/ 9049 h 18097"/>
                <a:gd name="connsiteX11" fmla="*/ 17335 w 18097"/>
                <a:gd name="connsiteY11" fmla="*/ 9049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" h="18097">
                  <a:moveTo>
                    <a:pt x="18097" y="9049"/>
                  </a:moveTo>
                  <a:cubicBezTo>
                    <a:pt x="18097" y="14097"/>
                    <a:pt x="14002" y="18098"/>
                    <a:pt x="9049" y="18098"/>
                  </a:cubicBezTo>
                  <a:cubicBezTo>
                    <a:pt x="4000" y="18098"/>
                    <a:pt x="0" y="14002"/>
                    <a:pt x="0" y="9049"/>
                  </a:cubicBezTo>
                  <a:cubicBezTo>
                    <a:pt x="0" y="4001"/>
                    <a:pt x="4096" y="0"/>
                    <a:pt x="9049" y="0"/>
                  </a:cubicBezTo>
                  <a:cubicBezTo>
                    <a:pt x="14002" y="0"/>
                    <a:pt x="18097" y="4096"/>
                    <a:pt x="18097" y="9049"/>
                  </a:cubicBezTo>
                  <a:lnTo>
                    <a:pt x="18097" y="9049"/>
                  </a:lnTo>
                  <a:close/>
                  <a:moveTo>
                    <a:pt x="17335" y="9049"/>
                  </a:moveTo>
                  <a:cubicBezTo>
                    <a:pt x="17335" y="13621"/>
                    <a:pt x="13621" y="17336"/>
                    <a:pt x="9049" y="17336"/>
                  </a:cubicBezTo>
                  <a:cubicBezTo>
                    <a:pt x="4477" y="17336"/>
                    <a:pt x="762" y="13621"/>
                    <a:pt x="762" y="9049"/>
                  </a:cubicBezTo>
                  <a:cubicBezTo>
                    <a:pt x="762" y="4477"/>
                    <a:pt x="4477" y="762"/>
                    <a:pt x="9049" y="762"/>
                  </a:cubicBezTo>
                  <a:cubicBezTo>
                    <a:pt x="13621" y="762"/>
                    <a:pt x="17335" y="4477"/>
                    <a:pt x="17335" y="9049"/>
                  </a:cubicBezTo>
                  <a:lnTo>
                    <a:pt x="17335" y="904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6" name="Freihandform: Form 895">
              <a:extLst>
                <a:ext uri="{FF2B5EF4-FFF2-40B4-BE49-F238E27FC236}">
                  <a16:creationId xmlns:a16="http://schemas.microsoft.com/office/drawing/2014/main" id="{FEDABF21-701F-672C-8CEE-72E65586C1F5}"/>
                </a:ext>
              </a:extLst>
            </p:cNvPr>
            <p:cNvSpPr/>
            <p:nvPr/>
          </p:nvSpPr>
          <p:spPr>
            <a:xfrm>
              <a:off x="5485496" y="2884156"/>
              <a:ext cx="762" cy="6858"/>
            </a:xfrm>
            <a:custGeom>
              <a:avLst/>
              <a:gdLst>
                <a:gd name="connsiteX0" fmla="*/ 762 w 762"/>
                <a:gd name="connsiteY0" fmla="*/ 6858 h 6858"/>
                <a:gd name="connsiteX1" fmla="*/ 762 w 762"/>
                <a:gd name="connsiteY1" fmla="*/ 0 h 6858"/>
                <a:gd name="connsiteX2" fmla="*/ 0 w 762"/>
                <a:gd name="connsiteY2" fmla="*/ 0 h 6858"/>
                <a:gd name="connsiteX3" fmla="*/ 0 w 762"/>
                <a:gd name="connsiteY3" fmla="*/ 6858 h 6858"/>
                <a:gd name="connsiteX4" fmla="*/ 762 w 762"/>
                <a:gd name="connsiteY4" fmla="*/ 6858 h 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" h="6858">
                  <a:moveTo>
                    <a:pt x="762" y="6858"/>
                  </a:moveTo>
                  <a:lnTo>
                    <a:pt x="762" y="0"/>
                  </a:lnTo>
                  <a:lnTo>
                    <a:pt x="0" y="0"/>
                  </a:lnTo>
                  <a:lnTo>
                    <a:pt x="0" y="6858"/>
                  </a:lnTo>
                  <a:lnTo>
                    <a:pt x="762" y="6858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7" name="Freihandform: Form 896">
              <a:extLst>
                <a:ext uri="{FF2B5EF4-FFF2-40B4-BE49-F238E27FC236}">
                  <a16:creationId xmlns:a16="http://schemas.microsoft.com/office/drawing/2014/main" id="{883E74F0-6D2B-2233-A32E-1CE5035D999F}"/>
                </a:ext>
              </a:extLst>
            </p:cNvPr>
            <p:cNvSpPr/>
            <p:nvPr/>
          </p:nvSpPr>
          <p:spPr>
            <a:xfrm>
              <a:off x="5477114" y="2882632"/>
              <a:ext cx="7620" cy="2095"/>
            </a:xfrm>
            <a:custGeom>
              <a:avLst/>
              <a:gdLst>
                <a:gd name="connsiteX0" fmla="*/ 191 w 7620"/>
                <a:gd name="connsiteY0" fmla="*/ 2096 h 2095"/>
                <a:gd name="connsiteX1" fmla="*/ 7620 w 7620"/>
                <a:gd name="connsiteY1" fmla="*/ 762 h 2095"/>
                <a:gd name="connsiteX2" fmla="*/ 7429 w 7620"/>
                <a:gd name="connsiteY2" fmla="*/ 0 h 2095"/>
                <a:gd name="connsiteX3" fmla="*/ 0 w 7620"/>
                <a:gd name="connsiteY3" fmla="*/ 1429 h 2095"/>
                <a:gd name="connsiteX4" fmla="*/ 191 w 7620"/>
                <a:gd name="connsiteY4" fmla="*/ 2096 h 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" h="2095">
                  <a:moveTo>
                    <a:pt x="191" y="2096"/>
                  </a:moveTo>
                  <a:lnTo>
                    <a:pt x="7620" y="762"/>
                  </a:lnTo>
                  <a:lnTo>
                    <a:pt x="7429" y="0"/>
                  </a:lnTo>
                  <a:lnTo>
                    <a:pt x="0" y="1429"/>
                  </a:lnTo>
                  <a:lnTo>
                    <a:pt x="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8" name="Freihandform: Form 897">
              <a:extLst>
                <a:ext uri="{FF2B5EF4-FFF2-40B4-BE49-F238E27FC236}">
                  <a16:creationId xmlns:a16="http://schemas.microsoft.com/office/drawing/2014/main" id="{1E019F22-CAE8-7856-0B4E-EEA03C5DEF81}"/>
                </a:ext>
              </a:extLst>
            </p:cNvPr>
            <p:cNvSpPr/>
            <p:nvPr/>
          </p:nvSpPr>
          <p:spPr>
            <a:xfrm>
              <a:off x="5479972" y="2875774"/>
              <a:ext cx="5143" cy="5524"/>
            </a:xfrm>
            <a:custGeom>
              <a:avLst/>
              <a:gdLst>
                <a:gd name="connsiteX0" fmla="*/ 0 w 5143"/>
                <a:gd name="connsiteY0" fmla="*/ 571 h 5524"/>
                <a:gd name="connsiteX1" fmla="*/ 4572 w 5143"/>
                <a:gd name="connsiteY1" fmla="*/ 5525 h 5524"/>
                <a:gd name="connsiteX2" fmla="*/ 5144 w 5143"/>
                <a:gd name="connsiteY2" fmla="*/ 5048 h 5524"/>
                <a:gd name="connsiteX3" fmla="*/ 476 w 5143"/>
                <a:gd name="connsiteY3" fmla="*/ 0 h 5524"/>
                <a:gd name="connsiteX4" fmla="*/ 0 w 5143"/>
                <a:gd name="connsiteY4" fmla="*/ 571 h 5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" h="5524">
                  <a:moveTo>
                    <a:pt x="0" y="571"/>
                  </a:moveTo>
                  <a:lnTo>
                    <a:pt x="4572" y="5525"/>
                  </a:lnTo>
                  <a:lnTo>
                    <a:pt x="5144" y="5048"/>
                  </a:lnTo>
                  <a:lnTo>
                    <a:pt x="476" y="0"/>
                  </a:lnTo>
                  <a:lnTo>
                    <a:pt x="0" y="57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899" name="Freihandform: Form 898">
              <a:extLst>
                <a:ext uri="{FF2B5EF4-FFF2-40B4-BE49-F238E27FC236}">
                  <a16:creationId xmlns:a16="http://schemas.microsoft.com/office/drawing/2014/main" id="{05C04F46-1E1E-F599-AE4D-3A7B1BBF3181}"/>
                </a:ext>
              </a:extLst>
            </p:cNvPr>
            <p:cNvSpPr/>
            <p:nvPr/>
          </p:nvSpPr>
          <p:spPr>
            <a:xfrm>
              <a:off x="5486354" y="2874917"/>
              <a:ext cx="4191" cy="6286"/>
            </a:xfrm>
            <a:custGeom>
              <a:avLst/>
              <a:gdLst>
                <a:gd name="connsiteX0" fmla="*/ 3524 w 4191"/>
                <a:gd name="connsiteY0" fmla="*/ 0 h 6286"/>
                <a:gd name="connsiteX1" fmla="*/ 0 w 4191"/>
                <a:gd name="connsiteY1" fmla="*/ 5810 h 6286"/>
                <a:gd name="connsiteX2" fmla="*/ 667 w 4191"/>
                <a:gd name="connsiteY2" fmla="*/ 6287 h 6286"/>
                <a:gd name="connsiteX3" fmla="*/ 4191 w 4191"/>
                <a:gd name="connsiteY3" fmla="*/ 381 h 6286"/>
                <a:gd name="connsiteX4" fmla="*/ 3524 w 4191"/>
                <a:gd name="connsiteY4" fmla="*/ 0 h 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" h="6286">
                  <a:moveTo>
                    <a:pt x="3524" y="0"/>
                  </a:moveTo>
                  <a:lnTo>
                    <a:pt x="0" y="5810"/>
                  </a:lnTo>
                  <a:lnTo>
                    <a:pt x="667" y="6287"/>
                  </a:lnTo>
                  <a:lnTo>
                    <a:pt x="4191" y="381"/>
                  </a:lnTo>
                  <a:lnTo>
                    <a:pt x="3524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0" name="Freihandform: Form 899">
              <a:extLst>
                <a:ext uri="{FF2B5EF4-FFF2-40B4-BE49-F238E27FC236}">
                  <a16:creationId xmlns:a16="http://schemas.microsoft.com/office/drawing/2014/main" id="{5D6BB737-D1C0-7B1F-F9C6-8F1CDA5DDC0F}"/>
                </a:ext>
              </a:extLst>
            </p:cNvPr>
            <p:cNvSpPr/>
            <p:nvPr/>
          </p:nvSpPr>
          <p:spPr>
            <a:xfrm>
              <a:off x="5487401" y="2882632"/>
              <a:ext cx="6762" cy="2476"/>
            </a:xfrm>
            <a:custGeom>
              <a:avLst/>
              <a:gdLst>
                <a:gd name="connsiteX0" fmla="*/ 6763 w 6762"/>
                <a:gd name="connsiteY0" fmla="*/ 1810 h 2476"/>
                <a:gd name="connsiteX1" fmla="*/ 191 w 6762"/>
                <a:gd name="connsiteY1" fmla="*/ 0 h 2476"/>
                <a:gd name="connsiteX2" fmla="*/ 0 w 6762"/>
                <a:gd name="connsiteY2" fmla="*/ 667 h 2476"/>
                <a:gd name="connsiteX3" fmla="*/ 6572 w 6762"/>
                <a:gd name="connsiteY3" fmla="*/ 2476 h 2476"/>
                <a:gd name="connsiteX4" fmla="*/ 6763 w 6762"/>
                <a:gd name="connsiteY4" fmla="*/ 1810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62" h="2476">
                  <a:moveTo>
                    <a:pt x="6763" y="1810"/>
                  </a:moveTo>
                  <a:lnTo>
                    <a:pt x="191" y="0"/>
                  </a:lnTo>
                  <a:lnTo>
                    <a:pt x="0" y="667"/>
                  </a:lnTo>
                  <a:lnTo>
                    <a:pt x="6572" y="2476"/>
                  </a:lnTo>
                  <a:lnTo>
                    <a:pt x="6763" y="1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1" name="Freihandform: Form 900">
              <a:extLst>
                <a:ext uri="{FF2B5EF4-FFF2-40B4-BE49-F238E27FC236}">
                  <a16:creationId xmlns:a16="http://schemas.microsoft.com/office/drawing/2014/main" id="{AB9C2B34-F61F-9AF3-AB10-7C24BE800906}"/>
                </a:ext>
              </a:extLst>
            </p:cNvPr>
            <p:cNvSpPr/>
            <p:nvPr/>
          </p:nvSpPr>
          <p:spPr>
            <a:xfrm>
              <a:off x="5483782" y="2880346"/>
              <a:ext cx="4190" cy="4191"/>
            </a:xfrm>
            <a:custGeom>
              <a:avLst/>
              <a:gdLst>
                <a:gd name="connsiteX0" fmla="*/ 4191 w 4190"/>
                <a:gd name="connsiteY0" fmla="*/ 2096 h 4191"/>
                <a:gd name="connsiteX1" fmla="*/ 2096 w 4190"/>
                <a:gd name="connsiteY1" fmla="*/ 4191 h 4191"/>
                <a:gd name="connsiteX2" fmla="*/ 0 w 4190"/>
                <a:gd name="connsiteY2" fmla="*/ 2096 h 4191"/>
                <a:gd name="connsiteX3" fmla="*/ 2096 w 4190"/>
                <a:gd name="connsiteY3" fmla="*/ 0 h 4191"/>
                <a:gd name="connsiteX4" fmla="*/ 4191 w 4190"/>
                <a:gd name="connsiteY4" fmla="*/ 2096 h 4191"/>
                <a:gd name="connsiteX5" fmla="*/ 4191 w 4190"/>
                <a:gd name="connsiteY5" fmla="*/ 2096 h 4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0" h="4191">
                  <a:moveTo>
                    <a:pt x="4191" y="2096"/>
                  </a:moveTo>
                  <a:cubicBezTo>
                    <a:pt x="4191" y="3239"/>
                    <a:pt x="3238" y="4191"/>
                    <a:pt x="2096" y="4191"/>
                  </a:cubicBezTo>
                  <a:cubicBezTo>
                    <a:pt x="952" y="4191"/>
                    <a:pt x="0" y="3239"/>
                    <a:pt x="0" y="2096"/>
                  </a:cubicBezTo>
                  <a:cubicBezTo>
                    <a:pt x="0" y="953"/>
                    <a:pt x="952" y="0"/>
                    <a:pt x="2096" y="0"/>
                  </a:cubicBezTo>
                  <a:cubicBezTo>
                    <a:pt x="3334" y="0"/>
                    <a:pt x="4191" y="953"/>
                    <a:pt x="4191" y="2096"/>
                  </a:cubicBezTo>
                  <a:lnTo>
                    <a:pt x="4191" y="2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2" name="Freihandform: Form 901">
              <a:extLst>
                <a:ext uri="{FF2B5EF4-FFF2-40B4-BE49-F238E27FC236}">
                  <a16:creationId xmlns:a16="http://schemas.microsoft.com/office/drawing/2014/main" id="{40B8990C-4462-04ED-D830-0BC583A02FD3}"/>
                </a:ext>
              </a:extLst>
            </p:cNvPr>
            <p:cNvSpPr/>
            <p:nvPr/>
          </p:nvSpPr>
          <p:spPr>
            <a:xfrm>
              <a:off x="5445206" y="2898729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049 w 11620"/>
                <a:gd name="connsiteY6" fmla="*/ 5810 h 11620"/>
                <a:gd name="connsiteX7" fmla="*/ 5810 w 11620"/>
                <a:gd name="connsiteY7" fmla="*/ 11049 h 11620"/>
                <a:gd name="connsiteX8" fmla="*/ 571 w 11620"/>
                <a:gd name="connsiteY8" fmla="*/ 5810 h 11620"/>
                <a:gd name="connsiteX9" fmla="*/ 5810 w 11620"/>
                <a:gd name="connsiteY9" fmla="*/ 571 h 11620"/>
                <a:gd name="connsiteX10" fmla="*/ 11049 w 11620"/>
                <a:gd name="connsiteY10" fmla="*/ 5810 h 11620"/>
                <a:gd name="connsiteX11" fmla="*/ 11049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667"/>
                    <a:pt x="2572" y="0"/>
                    <a:pt x="5810" y="0"/>
                  </a:cubicBezTo>
                  <a:cubicBezTo>
                    <a:pt x="8954" y="0"/>
                    <a:pt x="11621" y="2572"/>
                    <a:pt x="11621" y="5810"/>
                  </a:cubicBezTo>
                  <a:lnTo>
                    <a:pt x="11621" y="5810"/>
                  </a:lnTo>
                  <a:close/>
                  <a:moveTo>
                    <a:pt x="11049" y="5810"/>
                  </a:moveTo>
                  <a:cubicBezTo>
                    <a:pt x="11049" y="8668"/>
                    <a:pt x="8668" y="11049"/>
                    <a:pt x="5810" y="11049"/>
                  </a:cubicBezTo>
                  <a:cubicBezTo>
                    <a:pt x="2858" y="11049"/>
                    <a:pt x="571" y="8668"/>
                    <a:pt x="571" y="5810"/>
                  </a:cubicBezTo>
                  <a:cubicBezTo>
                    <a:pt x="571" y="2953"/>
                    <a:pt x="2953" y="571"/>
                    <a:pt x="5810" y="571"/>
                  </a:cubicBezTo>
                  <a:cubicBezTo>
                    <a:pt x="8763" y="476"/>
                    <a:pt x="11049" y="2858"/>
                    <a:pt x="11049" y="5810"/>
                  </a:cubicBezTo>
                  <a:lnTo>
                    <a:pt x="11049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3" name="Freihandform: Form 902">
              <a:extLst>
                <a:ext uri="{FF2B5EF4-FFF2-40B4-BE49-F238E27FC236}">
                  <a16:creationId xmlns:a16="http://schemas.microsoft.com/office/drawing/2014/main" id="{8CC9E81C-C56C-2884-6BCE-A1F62C60B6ED}"/>
                </a:ext>
              </a:extLst>
            </p:cNvPr>
            <p:cNvSpPr/>
            <p:nvPr/>
          </p:nvSpPr>
          <p:spPr>
            <a:xfrm>
              <a:off x="5450825" y="2905492"/>
              <a:ext cx="476" cy="4381"/>
            </a:xfrm>
            <a:custGeom>
              <a:avLst/>
              <a:gdLst>
                <a:gd name="connsiteX0" fmla="*/ 476 w 476"/>
                <a:gd name="connsiteY0" fmla="*/ 4382 h 4381"/>
                <a:gd name="connsiteX1" fmla="*/ 476 w 476"/>
                <a:gd name="connsiteY1" fmla="*/ 0 h 4381"/>
                <a:gd name="connsiteX2" fmla="*/ 0 w 476"/>
                <a:gd name="connsiteY2" fmla="*/ 0 h 4381"/>
                <a:gd name="connsiteX3" fmla="*/ 0 w 476"/>
                <a:gd name="connsiteY3" fmla="*/ 4382 h 4381"/>
                <a:gd name="connsiteX4" fmla="*/ 476 w 476"/>
                <a:gd name="connsiteY4" fmla="*/ 4382 h 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381">
                  <a:moveTo>
                    <a:pt x="476" y="4382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382"/>
                  </a:lnTo>
                  <a:lnTo>
                    <a:pt x="476" y="4382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4" name="Freihandform: Form 903">
              <a:extLst>
                <a:ext uri="{FF2B5EF4-FFF2-40B4-BE49-F238E27FC236}">
                  <a16:creationId xmlns:a16="http://schemas.microsoft.com/office/drawing/2014/main" id="{61041881-DA32-8500-4E40-45432656672B}"/>
                </a:ext>
              </a:extLst>
            </p:cNvPr>
            <p:cNvSpPr/>
            <p:nvPr/>
          </p:nvSpPr>
          <p:spPr>
            <a:xfrm>
              <a:off x="5445587" y="2904539"/>
              <a:ext cx="4762" cy="1333"/>
            </a:xfrm>
            <a:custGeom>
              <a:avLst/>
              <a:gdLst>
                <a:gd name="connsiteX0" fmla="*/ 0 w 4762"/>
                <a:gd name="connsiteY0" fmla="*/ 1333 h 1333"/>
                <a:gd name="connsiteX1" fmla="*/ 4763 w 4762"/>
                <a:gd name="connsiteY1" fmla="*/ 476 h 1333"/>
                <a:gd name="connsiteX2" fmla="*/ 4667 w 4762"/>
                <a:gd name="connsiteY2" fmla="*/ 0 h 1333"/>
                <a:gd name="connsiteX3" fmla="*/ 0 w 4762"/>
                <a:gd name="connsiteY3" fmla="*/ 857 h 1333"/>
                <a:gd name="connsiteX4" fmla="*/ 0 w 4762"/>
                <a:gd name="connsiteY4" fmla="*/ 1333 h 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333">
                  <a:moveTo>
                    <a:pt x="0" y="1333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857"/>
                  </a:lnTo>
                  <a:lnTo>
                    <a:pt x="0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5" name="Freihandform: Form 904">
              <a:extLst>
                <a:ext uri="{FF2B5EF4-FFF2-40B4-BE49-F238E27FC236}">
                  <a16:creationId xmlns:a16="http://schemas.microsoft.com/office/drawing/2014/main" id="{871EA533-5E88-3A30-A62E-8BEEF0ABD641}"/>
                </a:ext>
              </a:extLst>
            </p:cNvPr>
            <p:cNvSpPr/>
            <p:nvPr/>
          </p:nvSpPr>
          <p:spPr>
            <a:xfrm>
              <a:off x="5447301" y="2900158"/>
              <a:ext cx="3333" cy="3524"/>
            </a:xfrm>
            <a:custGeom>
              <a:avLst/>
              <a:gdLst>
                <a:gd name="connsiteX0" fmla="*/ 0 w 3333"/>
                <a:gd name="connsiteY0" fmla="*/ 381 h 3524"/>
                <a:gd name="connsiteX1" fmla="*/ 2953 w 3333"/>
                <a:gd name="connsiteY1" fmla="*/ 3524 h 3524"/>
                <a:gd name="connsiteX2" fmla="*/ 3334 w 3333"/>
                <a:gd name="connsiteY2" fmla="*/ 3239 h 3524"/>
                <a:gd name="connsiteX3" fmla="*/ 381 w 3333"/>
                <a:gd name="connsiteY3" fmla="*/ 0 h 3524"/>
                <a:gd name="connsiteX4" fmla="*/ 0 w 3333"/>
                <a:gd name="connsiteY4" fmla="*/ 381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381"/>
                  </a:moveTo>
                  <a:lnTo>
                    <a:pt x="2953" y="3524"/>
                  </a:lnTo>
                  <a:lnTo>
                    <a:pt x="3334" y="3239"/>
                  </a:lnTo>
                  <a:lnTo>
                    <a:pt x="381" y="0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6" name="Freihandform: Form 905">
              <a:extLst>
                <a:ext uri="{FF2B5EF4-FFF2-40B4-BE49-F238E27FC236}">
                  <a16:creationId xmlns:a16="http://schemas.microsoft.com/office/drawing/2014/main" id="{3F7EBF4A-3713-3C1E-CD35-FC9855A9680E}"/>
                </a:ext>
              </a:extLst>
            </p:cNvPr>
            <p:cNvSpPr/>
            <p:nvPr/>
          </p:nvSpPr>
          <p:spPr>
            <a:xfrm>
              <a:off x="5451397" y="2899681"/>
              <a:ext cx="2666" cy="3905"/>
            </a:xfrm>
            <a:custGeom>
              <a:avLst/>
              <a:gdLst>
                <a:gd name="connsiteX0" fmla="*/ 2286 w 2666"/>
                <a:gd name="connsiteY0" fmla="*/ 0 h 3905"/>
                <a:gd name="connsiteX1" fmla="*/ 0 w 2666"/>
                <a:gd name="connsiteY1" fmla="*/ 3715 h 3905"/>
                <a:gd name="connsiteX2" fmla="*/ 381 w 2666"/>
                <a:gd name="connsiteY2" fmla="*/ 3905 h 3905"/>
                <a:gd name="connsiteX3" fmla="*/ 2667 w 2666"/>
                <a:gd name="connsiteY3" fmla="*/ 191 h 3905"/>
                <a:gd name="connsiteX4" fmla="*/ 2286 w 2666"/>
                <a:gd name="connsiteY4" fmla="*/ 0 h 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3905">
                  <a:moveTo>
                    <a:pt x="2286" y="0"/>
                  </a:moveTo>
                  <a:lnTo>
                    <a:pt x="0" y="3715"/>
                  </a:lnTo>
                  <a:lnTo>
                    <a:pt x="381" y="3905"/>
                  </a:lnTo>
                  <a:lnTo>
                    <a:pt x="2667" y="191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7" name="Freihandform: Form 906">
              <a:extLst>
                <a:ext uri="{FF2B5EF4-FFF2-40B4-BE49-F238E27FC236}">
                  <a16:creationId xmlns:a16="http://schemas.microsoft.com/office/drawing/2014/main" id="{99284027-08FF-9E70-715F-47A3A848D2C5}"/>
                </a:ext>
              </a:extLst>
            </p:cNvPr>
            <p:cNvSpPr/>
            <p:nvPr/>
          </p:nvSpPr>
          <p:spPr>
            <a:xfrm>
              <a:off x="5452064" y="2904539"/>
              <a:ext cx="4286" cy="1619"/>
            </a:xfrm>
            <a:custGeom>
              <a:avLst/>
              <a:gdLst>
                <a:gd name="connsiteX0" fmla="*/ 4286 w 4286"/>
                <a:gd name="connsiteY0" fmla="*/ 1143 h 1619"/>
                <a:gd name="connsiteX1" fmla="*/ 95 w 4286"/>
                <a:gd name="connsiteY1" fmla="*/ 0 h 1619"/>
                <a:gd name="connsiteX2" fmla="*/ 0 w 4286"/>
                <a:gd name="connsiteY2" fmla="*/ 381 h 1619"/>
                <a:gd name="connsiteX3" fmla="*/ 4191 w 4286"/>
                <a:gd name="connsiteY3" fmla="*/ 1619 h 1619"/>
                <a:gd name="connsiteX4" fmla="*/ 4286 w 4286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6" h="1619">
                  <a:moveTo>
                    <a:pt x="4286" y="1143"/>
                  </a:moveTo>
                  <a:lnTo>
                    <a:pt x="95" y="0"/>
                  </a:lnTo>
                  <a:lnTo>
                    <a:pt x="0" y="381"/>
                  </a:lnTo>
                  <a:lnTo>
                    <a:pt x="4191" y="1619"/>
                  </a:lnTo>
                  <a:lnTo>
                    <a:pt x="4286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8" name="Freihandform: Form 907">
              <a:extLst>
                <a:ext uri="{FF2B5EF4-FFF2-40B4-BE49-F238E27FC236}">
                  <a16:creationId xmlns:a16="http://schemas.microsoft.com/office/drawing/2014/main" id="{BF6E8C39-A406-1C72-306C-E48455ED6529}"/>
                </a:ext>
              </a:extLst>
            </p:cNvPr>
            <p:cNvSpPr/>
            <p:nvPr/>
          </p:nvSpPr>
          <p:spPr>
            <a:xfrm>
              <a:off x="5449778" y="290301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667" y="2667"/>
                    <a:pt x="0" y="2096"/>
                    <a:pt x="0" y="1333"/>
                  </a:cubicBezTo>
                  <a:cubicBezTo>
                    <a:pt x="0" y="571"/>
                    <a:pt x="571" y="0"/>
                    <a:pt x="1333" y="0"/>
                  </a:cubicBezTo>
                  <a:cubicBezTo>
                    <a:pt x="2096" y="95"/>
                    <a:pt x="2667" y="667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09" name="Freihandform: Form 908">
              <a:extLst>
                <a:ext uri="{FF2B5EF4-FFF2-40B4-BE49-F238E27FC236}">
                  <a16:creationId xmlns:a16="http://schemas.microsoft.com/office/drawing/2014/main" id="{E47ABD6C-7B6C-8006-77F8-72E6FE0D6EC3}"/>
                </a:ext>
              </a:extLst>
            </p:cNvPr>
            <p:cNvSpPr/>
            <p:nvPr/>
          </p:nvSpPr>
          <p:spPr>
            <a:xfrm>
              <a:off x="5498355" y="2898443"/>
              <a:ext cx="11620" cy="11620"/>
            </a:xfrm>
            <a:custGeom>
              <a:avLst/>
              <a:gdLst>
                <a:gd name="connsiteX0" fmla="*/ 11621 w 11620"/>
                <a:gd name="connsiteY0" fmla="*/ 5810 h 11620"/>
                <a:gd name="connsiteX1" fmla="*/ 5810 w 11620"/>
                <a:gd name="connsiteY1" fmla="*/ 11621 h 11620"/>
                <a:gd name="connsiteX2" fmla="*/ 0 w 11620"/>
                <a:gd name="connsiteY2" fmla="*/ 5810 h 11620"/>
                <a:gd name="connsiteX3" fmla="*/ 5810 w 11620"/>
                <a:gd name="connsiteY3" fmla="*/ 0 h 11620"/>
                <a:gd name="connsiteX4" fmla="*/ 11621 w 11620"/>
                <a:gd name="connsiteY4" fmla="*/ 5810 h 11620"/>
                <a:gd name="connsiteX5" fmla="*/ 11621 w 11620"/>
                <a:gd name="connsiteY5" fmla="*/ 5810 h 11620"/>
                <a:gd name="connsiteX6" fmla="*/ 11144 w 11620"/>
                <a:gd name="connsiteY6" fmla="*/ 5810 h 11620"/>
                <a:gd name="connsiteX7" fmla="*/ 5905 w 11620"/>
                <a:gd name="connsiteY7" fmla="*/ 11049 h 11620"/>
                <a:gd name="connsiteX8" fmla="*/ 667 w 11620"/>
                <a:gd name="connsiteY8" fmla="*/ 5810 h 11620"/>
                <a:gd name="connsiteX9" fmla="*/ 5905 w 11620"/>
                <a:gd name="connsiteY9" fmla="*/ 571 h 11620"/>
                <a:gd name="connsiteX10" fmla="*/ 11144 w 11620"/>
                <a:gd name="connsiteY10" fmla="*/ 5810 h 11620"/>
                <a:gd name="connsiteX11" fmla="*/ 11144 w 11620"/>
                <a:gd name="connsiteY11" fmla="*/ 581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20" h="11620">
                  <a:moveTo>
                    <a:pt x="11621" y="5810"/>
                  </a:moveTo>
                  <a:cubicBezTo>
                    <a:pt x="11621" y="8954"/>
                    <a:pt x="9049" y="11621"/>
                    <a:pt x="5810" y="11621"/>
                  </a:cubicBezTo>
                  <a:cubicBezTo>
                    <a:pt x="2572" y="11621"/>
                    <a:pt x="0" y="9049"/>
                    <a:pt x="0" y="5810"/>
                  </a:cubicBezTo>
                  <a:cubicBezTo>
                    <a:pt x="0" y="2572"/>
                    <a:pt x="2572" y="0"/>
                    <a:pt x="5810" y="0"/>
                  </a:cubicBezTo>
                  <a:cubicBezTo>
                    <a:pt x="9049" y="0"/>
                    <a:pt x="11621" y="2667"/>
                    <a:pt x="11621" y="5810"/>
                  </a:cubicBezTo>
                  <a:lnTo>
                    <a:pt x="11621" y="5810"/>
                  </a:lnTo>
                  <a:close/>
                  <a:moveTo>
                    <a:pt x="11144" y="5810"/>
                  </a:moveTo>
                  <a:cubicBezTo>
                    <a:pt x="11144" y="8668"/>
                    <a:pt x="8763" y="11049"/>
                    <a:pt x="5905" y="11049"/>
                  </a:cubicBezTo>
                  <a:cubicBezTo>
                    <a:pt x="2953" y="11049"/>
                    <a:pt x="667" y="8668"/>
                    <a:pt x="667" y="5810"/>
                  </a:cubicBezTo>
                  <a:cubicBezTo>
                    <a:pt x="667" y="2858"/>
                    <a:pt x="3048" y="571"/>
                    <a:pt x="5905" y="571"/>
                  </a:cubicBezTo>
                  <a:cubicBezTo>
                    <a:pt x="8763" y="571"/>
                    <a:pt x="11144" y="2953"/>
                    <a:pt x="11144" y="5810"/>
                  </a:cubicBezTo>
                  <a:lnTo>
                    <a:pt x="11144" y="581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0" name="Freihandform: Form 909">
              <a:extLst>
                <a:ext uri="{FF2B5EF4-FFF2-40B4-BE49-F238E27FC236}">
                  <a16:creationId xmlns:a16="http://schemas.microsoft.com/office/drawing/2014/main" id="{D7C818BB-F50E-9903-C007-0C13D3352740}"/>
                </a:ext>
              </a:extLst>
            </p:cNvPr>
            <p:cNvSpPr/>
            <p:nvPr/>
          </p:nvSpPr>
          <p:spPr>
            <a:xfrm>
              <a:off x="5503975" y="2905301"/>
              <a:ext cx="476" cy="4286"/>
            </a:xfrm>
            <a:custGeom>
              <a:avLst/>
              <a:gdLst>
                <a:gd name="connsiteX0" fmla="*/ 476 w 476"/>
                <a:gd name="connsiteY0" fmla="*/ 4286 h 4286"/>
                <a:gd name="connsiteX1" fmla="*/ 476 w 476"/>
                <a:gd name="connsiteY1" fmla="*/ 0 h 4286"/>
                <a:gd name="connsiteX2" fmla="*/ 0 w 476"/>
                <a:gd name="connsiteY2" fmla="*/ 0 h 4286"/>
                <a:gd name="connsiteX3" fmla="*/ 0 w 476"/>
                <a:gd name="connsiteY3" fmla="*/ 4286 h 4286"/>
                <a:gd name="connsiteX4" fmla="*/ 476 w 476"/>
                <a:gd name="connsiteY4" fmla="*/ 4286 h 4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" h="4286">
                  <a:moveTo>
                    <a:pt x="476" y="4286"/>
                  </a:moveTo>
                  <a:lnTo>
                    <a:pt x="476" y="0"/>
                  </a:lnTo>
                  <a:lnTo>
                    <a:pt x="0" y="0"/>
                  </a:lnTo>
                  <a:lnTo>
                    <a:pt x="0" y="4286"/>
                  </a:lnTo>
                  <a:lnTo>
                    <a:pt x="476" y="4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1" name="Freihandform: Form 910">
              <a:extLst>
                <a:ext uri="{FF2B5EF4-FFF2-40B4-BE49-F238E27FC236}">
                  <a16:creationId xmlns:a16="http://schemas.microsoft.com/office/drawing/2014/main" id="{1606CCFD-C9B2-6834-0028-95647B6504AD}"/>
                </a:ext>
              </a:extLst>
            </p:cNvPr>
            <p:cNvSpPr/>
            <p:nvPr/>
          </p:nvSpPr>
          <p:spPr>
            <a:xfrm>
              <a:off x="5498736" y="2904254"/>
              <a:ext cx="4762" cy="1428"/>
            </a:xfrm>
            <a:custGeom>
              <a:avLst/>
              <a:gdLst>
                <a:gd name="connsiteX0" fmla="*/ 95 w 4762"/>
                <a:gd name="connsiteY0" fmla="*/ 1429 h 1428"/>
                <a:gd name="connsiteX1" fmla="*/ 4763 w 4762"/>
                <a:gd name="connsiteY1" fmla="*/ 476 h 1428"/>
                <a:gd name="connsiteX2" fmla="*/ 4667 w 4762"/>
                <a:gd name="connsiteY2" fmla="*/ 0 h 1428"/>
                <a:gd name="connsiteX3" fmla="*/ 0 w 4762"/>
                <a:gd name="connsiteY3" fmla="*/ 952 h 1428"/>
                <a:gd name="connsiteX4" fmla="*/ 95 w 4762"/>
                <a:gd name="connsiteY4" fmla="*/ 1429 h 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" h="1428">
                  <a:moveTo>
                    <a:pt x="95" y="1429"/>
                  </a:moveTo>
                  <a:lnTo>
                    <a:pt x="4763" y="476"/>
                  </a:lnTo>
                  <a:lnTo>
                    <a:pt x="4667" y="0"/>
                  </a:lnTo>
                  <a:lnTo>
                    <a:pt x="0" y="952"/>
                  </a:lnTo>
                  <a:lnTo>
                    <a:pt x="95" y="1429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2" name="Freihandform: Form 911">
              <a:extLst>
                <a:ext uri="{FF2B5EF4-FFF2-40B4-BE49-F238E27FC236}">
                  <a16:creationId xmlns:a16="http://schemas.microsoft.com/office/drawing/2014/main" id="{C852A9D0-EEB9-6D4A-B373-937B774B34BF}"/>
                </a:ext>
              </a:extLst>
            </p:cNvPr>
            <p:cNvSpPr/>
            <p:nvPr/>
          </p:nvSpPr>
          <p:spPr>
            <a:xfrm>
              <a:off x="5500451" y="2899967"/>
              <a:ext cx="3333" cy="3524"/>
            </a:xfrm>
            <a:custGeom>
              <a:avLst/>
              <a:gdLst>
                <a:gd name="connsiteX0" fmla="*/ 0 w 3333"/>
                <a:gd name="connsiteY0" fmla="*/ 286 h 3524"/>
                <a:gd name="connsiteX1" fmla="*/ 2953 w 3333"/>
                <a:gd name="connsiteY1" fmla="*/ 3524 h 3524"/>
                <a:gd name="connsiteX2" fmla="*/ 3334 w 3333"/>
                <a:gd name="connsiteY2" fmla="*/ 3143 h 3524"/>
                <a:gd name="connsiteX3" fmla="*/ 381 w 3333"/>
                <a:gd name="connsiteY3" fmla="*/ 0 h 3524"/>
                <a:gd name="connsiteX4" fmla="*/ 0 w 3333"/>
                <a:gd name="connsiteY4" fmla="*/ 286 h 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3524">
                  <a:moveTo>
                    <a:pt x="0" y="286"/>
                  </a:moveTo>
                  <a:lnTo>
                    <a:pt x="2953" y="3524"/>
                  </a:lnTo>
                  <a:lnTo>
                    <a:pt x="3334" y="3143"/>
                  </a:lnTo>
                  <a:lnTo>
                    <a:pt x="381" y="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3" name="Freihandform: Form 912">
              <a:extLst>
                <a:ext uri="{FF2B5EF4-FFF2-40B4-BE49-F238E27FC236}">
                  <a16:creationId xmlns:a16="http://schemas.microsoft.com/office/drawing/2014/main" id="{E44852CE-3D69-09DE-57B5-7641D2F0F8DF}"/>
                </a:ext>
              </a:extLst>
            </p:cNvPr>
            <p:cNvSpPr/>
            <p:nvPr/>
          </p:nvSpPr>
          <p:spPr>
            <a:xfrm>
              <a:off x="5504546" y="2899396"/>
              <a:ext cx="2666" cy="4000"/>
            </a:xfrm>
            <a:custGeom>
              <a:avLst/>
              <a:gdLst>
                <a:gd name="connsiteX0" fmla="*/ 2286 w 2666"/>
                <a:gd name="connsiteY0" fmla="*/ 0 h 4000"/>
                <a:gd name="connsiteX1" fmla="*/ 0 w 2666"/>
                <a:gd name="connsiteY1" fmla="*/ 3715 h 4000"/>
                <a:gd name="connsiteX2" fmla="*/ 476 w 2666"/>
                <a:gd name="connsiteY2" fmla="*/ 4001 h 4000"/>
                <a:gd name="connsiteX3" fmla="*/ 2667 w 2666"/>
                <a:gd name="connsiteY3" fmla="*/ 286 h 4000"/>
                <a:gd name="connsiteX4" fmla="*/ 2286 w 2666"/>
                <a:gd name="connsiteY4" fmla="*/ 0 h 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6" h="4000">
                  <a:moveTo>
                    <a:pt x="2286" y="0"/>
                  </a:moveTo>
                  <a:lnTo>
                    <a:pt x="0" y="3715"/>
                  </a:lnTo>
                  <a:lnTo>
                    <a:pt x="476" y="4001"/>
                  </a:lnTo>
                  <a:lnTo>
                    <a:pt x="2667" y="286"/>
                  </a:lnTo>
                  <a:lnTo>
                    <a:pt x="2286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4" name="Freihandform: Form 913">
              <a:extLst>
                <a:ext uri="{FF2B5EF4-FFF2-40B4-BE49-F238E27FC236}">
                  <a16:creationId xmlns:a16="http://schemas.microsoft.com/office/drawing/2014/main" id="{BB40D219-AA34-1DEE-E5F6-B5F22C2A6E38}"/>
                </a:ext>
              </a:extLst>
            </p:cNvPr>
            <p:cNvSpPr/>
            <p:nvPr/>
          </p:nvSpPr>
          <p:spPr>
            <a:xfrm>
              <a:off x="5505213" y="2904254"/>
              <a:ext cx="4381" cy="1619"/>
            </a:xfrm>
            <a:custGeom>
              <a:avLst/>
              <a:gdLst>
                <a:gd name="connsiteX0" fmla="*/ 4381 w 4381"/>
                <a:gd name="connsiteY0" fmla="*/ 1143 h 1619"/>
                <a:gd name="connsiteX1" fmla="*/ 190 w 4381"/>
                <a:gd name="connsiteY1" fmla="*/ 0 h 1619"/>
                <a:gd name="connsiteX2" fmla="*/ 0 w 4381"/>
                <a:gd name="connsiteY2" fmla="*/ 476 h 1619"/>
                <a:gd name="connsiteX3" fmla="*/ 4191 w 4381"/>
                <a:gd name="connsiteY3" fmla="*/ 1619 h 1619"/>
                <a:gd name="connsiteX4" fmla="*/ 4381 w 4381"/>
                <a:gd name="connsiteY4" fmla="*/ 1143 h 1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1" h="1619">
                  <a:moveTo>
                    <a:pt x="4381" y="1143"/>
                  </a:moveTo>
                  <a:lnTo>
                    <a:pt x="190" y="0"/>
                  </a:lnTo>
                  <a:lnTo>
                    <a:pt x="0" y="476"/>
                  </a:lnTo>
                  <a:lnTo>
                    <a:pt x="4191" y="1619"/>
                  </a:lnTo>
                  <a:lnTo>
                    <a:pt x="4381" y="1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5" name="Freihandform: Form 914">
              <a:extLst>
                <a:ext uri="{FF2B5EF4-FFF2-40B4-BE49-F238E27FC236}">
                  <a16:creationId xmlns:a16="http://schemas.microsoft.com/office/drawing/2014/main" id="{C454A71D-1156-E25C-EC47-57881B7E8C18}"/>
                </a:ext>
              </a:extLst>
            </p:cNvPr>
            <p:cNvSpPr/>
            <p:nvPr/>
          </p:nvSpPr>
          <p:spPr>
            <a:xfrm>
              <a:off x="5502927" y="2902825"/>
              <a:ext cx="2666" cy="2666"/>
            </a:xfrm>
            <a:custGeom>
              <a:avLst/>
              <a:gdLst>
                <a:gd name="connsiteX0" fmla="*/ 2667 w 2666"/>
                <a:gd name="connsiteY0" fmla="*/ 1333 h 2666"/>
                <a:gd name="connsiteX1" fmla="*/ 1333 w 2666"/>
                <a:gd name="connsiteY1" fmla="*/ 2667 h 2666"/>
                <a:gd name="connsiteX2" fmla="*/ 0 w 2666"/>
                <a:gd name="connsiteY2" fmla="*/ 1333 h 2666"/>
                <a:gd name="connsiteX3" fmla="*/ 1333 w 2666"/>
                <a:gd name="connsiteY3" fmla="*/ 0 h 2666"/>
                <a:gd name="connsiteX4" fmla="*/ 2667 w 2666"/>
                <a:gd name="connsiteY4" fmla="*/ 1333 h 2666"/>
                <a:gd name="connsiteX5" fmla="*/ 2667 w 2666"/>
                <a:gd name="connsiteY5" fmla="*/ 1333 h 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" h="2666">
                  <a:moveTo>
                    <a:pt x="2667" y="1333"/>
                  </a:moveTo>
                  <a:cubicBezTo>
                    <a:pt x="2667" y="2096"/>
                    <a:pt x="2096" y="2667"/>
                    <a:pt x="1333" y="2667"/>
                  </a:cubicBezTo>
                  <a:cubicBezTo>
                    <a:pt x="571" y="2667"/>
                    <a:pt x="0" y="2096"/>
                    <a:pt x="0" y="1333"/>
                  </a:cubicBezTo>
                  <a:cubicBezTo>
                    <a:pt x="0" y="572"/>
                    <a:pt x="571" y="0"/>
                    <a:pt x="1333" y="0"/>
                  </a:cubicBezTo>
                  <a:cubicBezTo>
                    <a:pt x="2096" y="0"/>
                    <a:pt x="2667" y="572"/>
                    <a:pt x="2667" y="1333"/>
                  </a:cubicBezTo>
                  <a:lnTo>
                    <a:pt x="2667" y="133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6" name="Freihandform: Form 915">
              <a:extLst>
                <a:ext uri="{FF2B5EF4-FFF2-40B4-BE49-F238E27FC236}">
                  <a16:creationId xmlns:a16="http://schemas.microsoft.com/office/drawing/2014/main" id="{28DF74CC-1800-D5B7-2347-15AFE30B0861}"/>
                </a:ext>
              </a:extLst>
            </p:cNvPr>
            <p:cNvSpPr/>
            <p:nvPr/>
          </p:nvSpPr>
          <p:spPr>
            <a:xfrm>
              <a:off x="5473114" y="2900729"/>
              <a:ext cx="8191" cy="8191"/>
            </a:xfrm>
            <a:custGeom>
              <a:avLst/>
              <a:gdLst>
                <a:gd name="connsiteX0" fmla="*/ 8192 w 8191"/>
                <a:gd name="connsiteY0" fmla="*/ 4096 h 8191"/>
                <a:gd name="connsiteX1" fmla="*/ 4096 w 8191"/>
                <a:gd name="connsiteY1" fmla="*/ 8192 h 8191"/>
                <a:gd name="connsiteX2" fmla="*/ 0 w 8191"/>
                <a:gd name="connsiteY2" fmla="*/ 4096 h 8191"/>
                <a:gd name="connsiteX3" fmla="*/ 4096 w 8191"/>
                <a:gd name="connsiteY3" fmla="*/ 0 h 8191"/>
                <a:gd name="connsiteX4" fmla="*/ 8192 w 8191"/>
                <a:gd name="connsiteY4" fmla="*/ 4096 h 8191"/>
                <a:gd name="connsiteX5" fmla="*/ 8192 w 8191"/>
                <a:gd name="connsiteY5" fmla="*/ 4096 h 8191"/>
                <a:gd name="connsiteX6" fmla="*/ 7811 w 8191"/>
                <a:gd name="connsiteY6" fmla="*/ 4096 h 8191"/>
                <a:gd name="connsiteX7" fmla="*/ 4096 w 8191"/>
                <a:gd name="connsiteY7" fmla="*/ 7811 h 8191"/>
                <a:gd name="connsiteX8" fmla="*/ 381 w 8191"/>
                <a:gd name="connsiteY8" fmla="*/ 4096 h 8191"/>
                <a:gd name="connsiteX9" fmla="*/ 4096 w 8191"/>
                <a:gd name="connsiteY9" fmla="*/ 381 h 8191"/>
                <a:gd name="connsiteX10" fmla="*/ 7811 w 8191"/>
                <a:gd name="connsiteY10" fmla="*/ 4096 h 8191"/>
                <a:gd name="connsiteX11" fmla="*/ 7811 w 8191"/>
                <a:gd name="connsiteY11" fmla="*/ 4096 h 8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1" h="8191">
                  <a:moveTo>
                    <a:pt x="8192" y="4096"/>
                  </a:moveTo>
                  <a:cubicBezTo>
                    <a:pt x="8192" y="6382"/>
                    <a:pt x="6382" y="8192"/>
                    <a:pt x="4096" y="8192"/>
                  </a:cubicBezTo>
                  <a:cubicBezTo>
                    <a:pt x="1810" y="8192"/>
                    <a:pt x="0" y="6382"/>
                    <a:pt x="0" y="4096"/>
                  </a:cubicBezTo>
                  <a:cubicBezTo>
                    <a:pt x="0" y="1810"/>
                    <a:pt x="1810" y="0"/>
                    <a:pt x="4096" y="0"/>
                  </a:cubicBezTo>
                  <a:cubicBezTo>
                    <a:pt x="6382" y="0"/>
                    <a:pt x="8192" y="1810"/>
                    <a:pt x="8192" y="4096"/>
                  </a:cubicBezTo>
                  <a:lnTo>
                    <a:pt x="8192" y="4096"/>
                  </a:lnTo>
                  <a:close/>
                  <a:moveTo>
                    <a:pt x="7811" y="4096"/>
                  </a:moveTo>
                  <a:cubicBezTo>
                    <a:pt x="7811" y="6096"/>
                    <a:pt x="6096" y="7811"/>
                    <a:pt x="4096" y="7811"/>
                  </a:cubicBezTo>
                  <a:cubicBezTo>
                    <a:pt x="2096" y="7811"/>
                    <a:pt x="381" y="6096"/>
                    <a:pt x="381" y="4096"/>
                  </a:cubicBezTo>
                  <a:cubicBezTo>
                    <a:pt x="381" y="2000"/>
                    <a:pt x="2096" y="381"/>
                    <a:pt x="4096" y="381"/>
                  </a:cubicBezTo>
                  <a:cubicBezTo>
                    <a:pt x="6191" y="381"/>
                    <a:pt x="7811" y="2000"/>
                    <a:pt x="7811" y="4096"/>
                  </a:cubicBezTo>
                  <a:lnTo>
                    <a:pt x="7811" y="4096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7" name="Freihandform: Form 916">
              <a:extLst>
                <a:ext uri="{FF2B5EF4-FFF2-40B4-BE49-F238E27FC236}">
                  <a16:creationId xmlns:a16="http://schemas.microsoft.com/office/drawing/2014/main" id="{AABB2B9D-FE1D-E43F-DB38-EDD87273F42B}"/>
                </a:ext>
              </a:extLst>
            </p:cNvPr>
            <p:cNvSpPr/>
            <p:nvPr/>
          </p:nvSpPr>
          <p:spPr>
            <a:xfrm>
              <a:off x="5477114" y="2905492"/>
              <a:ext cx="285" cy="3143"/>
            </a:xfrm>
            <a:custGeom>
              <a:avLst/>
              <a:gdLst>
                <a:gd name="connsiteX0" fmla="*/ 286 w 285"/>
                <a:gd name="connsiteY0" fmla="*/ 3143 h 3143"/>
                <a:gd name="connsiteX1" fmla="*/ 286 w 285"/>
                <a:gd name="connsiteY1" fmla="*/ 0 h 3143"/>
                <a:gd name="connsiteX2" fmla="*/ 0 w 285"/>
                <a:gd name="connsiteY2" fmla="*/ 0 h 3143"/>
                <a:gd name="connsiteX3" fmla="*/ 0 w 285"/>
                <a:gd name="connsiteY3" fmla="*/ 3143 h 3143"/>
                <a:gd name="connsiteX4" fmla="*/ 286 w 285"/>
                <a:gd name="connsiteY4" fmla="*/ 3143 h 3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" h="3143">
                  <a:moveTo>
                    <a:pt x="286" y="3143"/>
                  </a:moveTo>
                  <a:lnTo>
                    <a:pt x="286" y="0"/>
                  </a:lnTo>
                  <a:lnTo>
                    <a:pt x="0" y="0"/>
                  </a:lnTo>
                  <a:lnTo>
                    <a:pt x="0" y="3143"/>
                  </a:lnTo>
                  <a:lnTo>
                    <a:pt x="286" y="314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8" name="Freihandform: Form 917">
              <a:extLst>
                <a:ext uri="{FF2B5EF4-FFF2-40B4-BE49-F238E27FC236}">
                  <a16:creationId xmlns:a16="http://schemas.microsoft.com/office/drawing/2014/main" id="{2D5E1352-13B1-0ED1-C026-D89A32EC3B00}"/>
                </a:ext>
              </a:extLst>
            </p:cNvPr>
            <p:cNvSpPr/>
            <p:nvPr/>
          </p:nvSpPr>
          <p:spPr>
            <a:xfrm>
              <a:off x="5473400" y="2904825"/>
              <a:ext cx="3333" cy="952"/>
            </a:xfrm>
            <a:custGeom>
              <a:avLst/>
              <a:gdLst>
                <a:gd name="connsiteX0" fmla="*/ 0 w 3333"/>
                <a:gd name="connsiteY0" fmla="*/ 953 h 952"/>
                <a:gd name="connsiteX1" fmla="*/ 3334 w 3333"/>
                <a:gd name="connsiteY1" fmla="*/ 381 h 952"/>
                <a:gd name="connsiteX2" fmla="*/ 3334 w 3333"/>
                <a:gd name="connsiteY2" fmla="*/ 0 h 952"/>
                <a:gd name="connsiteX3" fmla="*/ 0 w 3333"/>
                <a:gd name="connsiteY3" fmla="*/ 667 h 952"/>
                <a:gd name="connsiteX4" fmla="*/ 0 w 3333"/>
                <a:gd name="connsiteY4" fmla="*/ 953 h 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" h="952">
                  <a:moveTo>
                    <a:pt x="0" y="953"/>
                  </a:moveTo>
                  <a:lnTo>
                    <a:pt x="3334" y="381"/>
                  </a:lnTo>
                  <a:lnTo>
                    <a:pt x="3334" y="0"/>
                  </a:lnTo>
                  <a:lnTo>
                    <a:pt x="0" y="667"/>
                  </a:lnTo>
                  <a:lnTo>
                    <a:pt x="0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19" name="Freihandform: Form 918">
              <a:extLst>
                <a:ext uri="{FF2B5EF4-FFF2-40B4-BE49-F238E27FC236}">
                  <a16:creationId xmlns:a16="http://schemas.microsoft.com/office/drawing/2014/main" id="{4A51E779-2ADA-9F70-D99C-A5392D0ABF88}"/>
                </a:ext>
              </a:extLst>
            </p:cNvPr>
            <p:cNvSpPr/>
            <p:nvPr/>
          </p:nvSpPr>
          <p:spPr>
            <a:xfrm>
              <a:off x="5474638" y="2901777"/>
              <a:ext cx="2286" cy="2476"/>
            </a:xfrm>
            <a:custGeom>
              <a:avLst/>
              <a:gdLst>
                <a:gd name="connsiteX0" fmla="*/ 0 w 2286"/>
                <a:gd name="connsiteY0" fmla="*/ 191 h 2476"/>
                <a:gd name="connsiteX1" fmla="*/ 2096 w 2286"/>
                <a:gd name="connsiteY1" fmla="*/ 2477 h 2476"/>
                <a:gd name="connsiteX2" fmla="*/ 2286 w 2286"/>
                <a:gd name="connsiteY2" fmla="*/ 2286 h 2476"/>
                <a:gd name="connsiteX3" fmla="*/ 191 w 2286"/>
                <a:gd name="connsiteY3" fmla="*/ 0 h 2476"/>
                <a:gd name="connsiteX4" fmla="*/ 0 w 2286"/>
                <a:gd name="connsiteY4" fmla="*/ 191 h 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" h="2476">
                  <a:moveTo>
                    <a:pt x="0" y="191"/>
                  </a:moveTo>
                  <a:lnTo>
                    <a:pt x="2096" y="2477"/>
                  </a:lnTo>
                  <a:lnTo>
                    <a:pt x="2286" y="2286"/>
                  </a:lnTo>
                  <a:lnTo>
                    <a:pt x="191" y="0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0" name="Freihandform: Form 919">
              <a:extLst>
                <a:ext uri="{FF2B5EF4-FFF2-40B4-BE49-F238E27FC236}">
                  <a16:creationId xmlns:a16="http://schemas.microsoft.com/office/drawing/2014/main" id="{97FC7AB8-FFEA-8072-F135-DFF5998D34D5}"/>
                </a:ext>
              </a:extLst>
            </p:cNvPr>
            <p:cNvSpPr/>
            <p:nvPr/>
          </p:nvSpPr>
          <p:spPr>
            <a:xfrm>
              <a:off x="5477496" y="2901396"/>
              <a:ext cx="1904" cy="2762"/>
            </a:xfrm>
            <a:custGeom>
              <a:avLst/>
              <a:gdLst>
                <a:gd name="connsiteX0" fmla="*/ 1619 w 1904"/>
                <a:gd name="connsiteY0" fmla="*/ 0 h 2762"/>
                <a:gd name="connsiteX1" fmla="*/ 0 w 1904"/>
                <a:gd name="connsiteY1" fmla="*/ 2572 h 2762"/>
                <a:gd name="connsiteX2" fmla="*/ 286 w 1904"/>
                <a:gd name="connsiteY2" fmla="*/ 2762 h 2762"/>
                <a:gd name="connsiteX3" fmla="*/ 1905 w 1904"/>
                <a:gd name="connsiteY3" fmla="*/ 191 h 2762"/>
                <a:gd name="connsiteX4" fmla="*/ 1619 w 1904"/>
                <a:gd name="connsiteY4" fmla="*/ 0 h 2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4" h="2762">
                  <a:moveTo>
                    <a:pt x="1619" y="0"/>
                  </a:moveTo>
                  <a:lnTo>
                    <a:pt x="0" y="2572"/>
                  </a:lnTo>
                  <a:lnTo>
                    <a:pt x="286" y="2762"/>
                  </a:lnTo>
                  <a:lnTo>
                    <a:pt x="1905" y="191"/>
                  </a:lnTo>
                  <a:lnTo>
                    <a:pt x="1619" y="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1" name="Freihandform: Form 920">
              <a:extLst>
                <a:ext uri="{FF2B5EF4-FFF2-40B4-BE49-F238E27FC236}">
                  <a16:creationId xmlns:a16="http://schemas.microsoft.com/office/drawing/2014/main" id="{11B2DCAD-EF50-2DED-84AE-852BB0D4853A}"/>
                </a:ext>
              </a:extLst>
            </p:cNvPr>
            <p:cNvSpPr/>
            <p:nvPr/>
          </p:nvSpPr>
          <p:spPr>
            <a:xfrm>
              <a:off x="5477972" y="2904825"/>
              <a:ext cx="3047" cy="1142"/>
            </a:xfrm>
            <a:custGeom>
              <a:avLst/>
              <a:gdLst>
                <a:gd name="connsiteX0" fmla="*/ 3048 w 3047"/>
                <a:gd name="connsiteY0" fmla="*/ 857 h 1142"/>
                <a:gd name="connsiteX1" fmla="*/ 95 w 3047"/>
                <a:gd name="connsiteY1" fmla="*/ 0 h 1142"/>
                <a:gd name="connsiteX2" fmla="*/ 0 w 3047"/>
                <a:gd name="connsiteY2" fmla="*/ 286 h 1142"/>
                <a:gd name="connsiteX3" fmla="*/ 2953 w 3047"/>
                <a:gd name="connsiteY3" fmla="*/ 1143 h 1142"/>
                <a:gd name="connsiteX4" fmla="*/ 3048 w 3047"/>
                <a:gd name="connsiteY4" fmla="*/ 857 h 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7" h="1142">
                  <a:moveTo>
                    <a:pt x="3048" y="857"/>
                  </a:moveTo>
                  <a:lnTo>
                    <a:pt x="95" y="0"/>
                  </a:lnTo>
                  <a:lnTo>
                    <a:pt x="0" y="286"/>
                  </a:lnTo>
                  <a:lnTo>
                    <a:pt x="2953" y="1143"/>
                  </a:lnTo>
                  <a:lnTo>
                    <a:pt x="3048" y="857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2" name="Freihandform: Form 921">
              <a:extLst>
                <a:ext uri="{FF2B5EF4-FFF2-40B4-BE49-F238E27FC236}">
                  <a16:creationId xmlns:a16="http://schemas.microsoft.com/office/drawing/2014/main" id="{08E39919-C121-6B12-8DD3-A3C9E6A2FD38}"/>
                </a:ext>
              </a:extLst>
            </p:cNvPr>
            <p:cNvSpPr/>
            <p:nvPr/>
          </p:nvSpPr>
          <p:spPr>
            <a:xfrm>
              <a:off x="5476353" y="2903777"/>
              <a:ext cx="1904" cy="1904"/>
            </a:xfrm>
            <a:custGeom>
              <a:avLst/>
              <a:gdLst>
                <a:gd name="connsiteX0" fmla="*/ 1905 w 1904"/>
                <a:gd name="connsiteY0" fmla="*/ 953 h 1904"/>
                <a:gd name="connsiteX1" fmla="*/ 952 w 1904"/>
                <a:gd name="connsiteY1" fmla="*/ 1905 h 1904"/>
                <a:gd name="connsiteX2" fmla="*/ 0 w 1904"/>
                <a:gd name="connsiteY2" fmla="*/ 953 h 1904"/>
                <a:gd name="connsiteX3" fmla="*/ 952 w 1904"/>
                <a:gd name="connsiteY3" fmla="*/ 0 h 1904"/>
                <a:gd name="connsiteX4" fmla="*/ 1905 w 1904"/>
                <a:gd name="connsiteY4" fmla="*/ 953 h 1904"/>
                <a:gd name="connsiteX5" fmla="*/ 1905 w 1904"/>
                <a:gd name="connsiteY5" fmla="*/ 953 h 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4" h="1904">
                  <a:moveTo>
                    <a:pt x="1905" y="953"/>
                  </a:moveTo>
                  <a:cubicBezTo>
                    <a:pt x="1905" y="1429"/>
                    <a:pt x="1524" y="1905"/>
                    <a:pt x="952" y="1905"/>
                  </a:cubicBezTo>
                  <a:cubicBezTo>
                    <a:pt x="476" y="1905"/>
                    <a:pt x="0" y="1524"/>
                    <a:pt x="0" y="953"/>
                  </a:cubicBezTo>
                  <a:cubicBezTo>
                    <a:pt x="0" y="476"/>
                    <a:pt x="381" y="0"/>
                    <a:pt x="952" y="0"/>
                  </a:cubicBezTo>
                  <a:cubicBezTo>
                    <a:pt x="1429" y="0"/>
                    <a:pt x="1905" y="476"/>
                    <a:pt x="1905" y="953"/>
                  </a:cubicBezTo>
                  <a:lnTo>
                    <a:pt x="1905" y="95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3" name="Freihandform: Form 922">
              <a:extLst>
                <a:ext uri="{FF2B5EF4-FFF2-40B4-BE49-F238E27FC236}">
                  <a16:creationId xmlns:a16="http://schemas.microsoft.com/office/drawing/2014/main" id="{C64908AE-6CF8-22D2-D9B8-DFE72B9EEE40}"/>
                </a:ext>
              </a:extLst>
            </p:cNvPr>
            <p:cNvSpPr/>
            <p:nvPr/>
          </p:nvSpPr>
          <p:spPr>
            <a:xfrm>
              <a:off x="5460541" y="3083324"/>
              <a:ext cx="26288" cy="26288"/>
            </a:xfrm>
            <a:custGeom>
              <a:avLst/>
              <a:gdLst>
                <a:gd name="connsiteX0" fmla="*/ 26289 w 26288"/>
                <a:gd name="connsiteY0" fmla="*/ 13144 h 26288"/>
                <a:gd name="connsiteX1" fmla="*/ 13144 w 26288"/>
                <a:gd name="connsiteY1" fmla="*/ 26289 h 26288"/>
                <a:gd name="connsiteX2" fmla="*/ 0 w 26288"/>
                <a:gd name="connsiteY2" fmla="*/ 13144 h 26288"/>
                <a:gd name="connsiteX3" fmla="*/ 13144 w 26288"/>
                <a:gd name="connsiteY3" fmla="*/ 0 h 26288"/>
                <a:gd name="connsiteX4" fmla="*/ 26289 w 26288"/>
                <a:gd name="connsiteY4" fmla="*/ 13144 h 26288"/>
                <a:gd name="connsiteX5" fmla="*/ 26289 w 26288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8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4" y="26289"/>
                  </a:cubicBezTo>
                  <a:cubicBezTo>
                    <a:pt x="5905" y="26289"/>
                    <a:pt x="0" y="20383"/>
                    <a:pt x="0" y="13144"/>
                  </a:cubicBezTo>
                  <a:cubicBezTo>
                    <a:pt x="0" y="5905"/>
                    <a:pt x="5905" y="0"/>
                    <a:pt x="13144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4" name="Freihandform: Form 923">
              <a:extLst>
                <a:ext uri="{FF2B5EF4-FFF2-40B4-BE49-F238E27FC236}">
                  <a16:creationId xmlns:a16="http://schemas.microsoft.com/office/drawing/2014/main" id="{7AFE3919-7C71-D610-96B9-197ECF360BD5}"/>
                </a:ext>
              </a:extLst>
            </p:cNvPr>
            <p:cNvSpPr/>
            <p:nvPr/>
          </p:nvSpPr>
          <p:spPr>
            <a:xfrm>
              <a:off x="5461208" y="3083895"/>
              <a:ext cx="24955" cy="25050"/>
            </a:xfrm>
            <a:custGeom>
              <a:avLst/>
              <a:gdLst>
                <a:gd name="connsiteX0" fmla="*/ 24956 w 24955"/>
                <a:gd name="connsiteY0" fmla="*/ 12573 h 25050"/>
                <a:gd name="connsiteX1" fmla="*/ 12478 w 24955"/>
                <a:gd name="connsiteY1" fmla="*/ 25051 h 25050"/>
                <a:gd name="connsiteX2" fmla="*/ 0 w 24955"/>
                <a:gd name="connsiteY2" fmla="*/ 12573 h 25050"/>
                <a:gd name="connsiteX3" fmla="*/ 12478 w 24955"/>
                <a:gd name="connsiteY3" fmla="*/ 0 h 25050"/>
                <a:gd name="connsiteX4" fmla="*/ 24956 w 24955"/>
                <a:gd name="connsiteY4" fmla="*/ 12573 h 25050"/>
                <a:gd name="connsiteX5" fmla="*/ 24956 w 24955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55" h="25050">
                  <a:moveTo>
                    <a:pt x="24956" y="12573"/>
                  </a:moveTo>
                  <a:cubicBezTo>
                    <a:pt x="24956" y="19526"/>
                    <a:pt x="19336" y="25051"/>
                    <a:pt x="12478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478" y="0"/>
                  </a:cubicBezTo>
                  <a:cubicBezTo>
                    <a:pt x="19336" y="0"/>
                    <a:pt x="24956" y="5620"/>
                    <a:pt x="24956" y="12573"/>
                  </a:cubicBezTo>
                  <a:lnTo>
                    <a:pt x="24956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5" name="Freihandform: Form 924">
              <a:extLst>
                <a:ext uri="{FF2B5EF4-FFF2-40B4-BE49-F238E27FC236}">
                  <a16:creationId xmlns:a16="http://schemas.microsoft.com/office/drawing/2014/main" id="{A139347E-2BFD-37A2-4BF0-82036B3B6168}"/>
                </a:ext>
              </a:extLst>
            </p:cNvPr>
            <p:cNvSpPr/>
            <p:nvPr/>
          </p:nvSpPr>
          <p:spPr>
            <a:xfrm>
              <a:off x="5407772" y="3083324"/>
              <a:ext cx="26289" cy="26288"/>
            </a:xfrm>
            <a:custGeom>
              <a:avLst/>
              <a:gdLst>
                <a:gd name="connsiteX0" fmla="*/ 26289 w 26289"/>
                <a:gd name="connsiteY0" fmla="*/ 13144 h 26288"/>
                <a:gd name="connsiteX1" fmla="*/ 13145 w 26289"/>
                <a:gd name="connsiteY1" fmla="*/ 26289 h 26288"/>
                <a:gd name="connsiteX2" fmla="*/ 0 w 26289"/>
                <a:gd name="connsiteY2" fmla="*/ 13144 h 26288"/>
                <a:gd name="connsiteX3" fmla="*/ 13145 w 26289"/>
                <a:gd name="connsiteY3" fmla="*/ 0 h 26288"/>
                <a:gd name="connsiteX4" fmla="*/ 26289 w 26289"/>
                <a:gd name="connsiteY4" fmla="*/ 13144 h 26288"/>
                <a:gd name="connsiteX5" fmla="*/ 26289 w 26289"/>
                <a:gd name="connsiteY5" fmla="*/ 13144 h 2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89" h="26288">
                  <a:moveTo>
                    <a:pt x="26289" y="13144"/>
                  </a:moveTo>
                  <a:cubicBezTo>
                    <a:pt x="26289" y="20383"/>
                    <a:pt x="20383" y="26289"/>
                    <a:pt x="13145" y="26289"/>
                  </a:cubicBezTo>
                  <a:cubicBezTo>
                    <a:pt x="5906" y="26289"/>
                    <a:pt x="0" y="20383"/>
                    <a:pt x="0" y="13144"/>
                  </a:cubicBezTo>
                  <a:cubicBezTo>
                    <a:pt x="0" y="5905"/>
                    <a:pt x="5906" y="0"/>
                    <a:pt x="13145" y="0"/>
                  </a:cubicBezTo>
                  <a:cubicBezTo>
                    <a:pt x="20383" y="0"/>
                    <a:pt x="26289" y="5905"/>
                    <a:pt x="26289" y="13144"/>
                  </a:cubicBezTo>
                  <a:lnTo>
                    <a:pt x="26289" y="1314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6" name="Freihandform: Form 925">
              <a:extLst>
                <a:ext uri="{FF2B5EF4-FFF2-40B4-BE49-F238E27FC236}">
                  <a16:creationId xmlns:a16="http://schemas.microsoft.com/office/drawing/2014/main" id="{9F245771-F9C8-6A5E-61B9-1710727BC8DB}"/>
                </a:ext>
              </a:extLst>
            </p:cNvPr>
            <p:cNvSpPr/>
            <p:nvPr/>
          </p:nvSpPr>
          <p:spPr>
            <a:xfrm>
              <a:off x="5408344" y="3083895"/>
              <a:ext cx="25050" cy="25050"/>
            </a:xfrm>
            <a:custGeom>
              <a:avLst/>
              <a:gdLst>
                <a:gd name="connsiteX0" fmla="*/ 25051 w 25050"/>
                <a:gd name="connsiteY0" fmla="*/ 12573 h 25050"/>
                <a:gd name="connsiteX1" fmla="*/ 12573 w 25050"/>
                <a:gd name="connsiteY1" fmla="*/ 25051 h 25050"/>
                <a:gd name="connsiteX2" fmla="*/ 0 w 25050"/>
                <a:gd name="connsiteY2" fmla="*/ 12573 h 25050"/>
                <a:gd name="connsiteX3" fmla="*/ 12573 w 25050"/>
                <a:gd name="connsiteY3" fmla="*/ 0 h 25050"/>
                <a:gd name="connsiteX4" fmla="*/ 25051 w 25050"/>
                <a:gd name="connsiteY4" fmla="*/ 12573 h 25050"/>
                <a:gd name="connsiteX5" fmla="*/ 25051 w 25050"/>
                <a:gd name="connsiteY5" fmla="*/ 12573 h 2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50" h="25050">
                  <a:moveTo>
                    <a:pt x="25051" y="12573"/>
                  </a:moveTo>
                  <a:cubicBezTo>
                    <a:pt x="25051" y="19526"/>
                    <a:pt x="19431" y="25051"/>
                    <a:pt x="12573" y="25051"/>
                  </a:cubicBezTo>
                  <a:cubicBezTo>
                    <a:pt x="5620" y="25051"/>
                    <a:pt x="0" y="19431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431" y="0"/>
                    <a:pt x="25051" y="5620"/>
                    <a:pt x="25051" y="12573"/>
                  </a:cubicBezTo>
                  <a:lnTo>
                    <a:pt x="25051" y="12573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7" name="Freihandform: Form 926">
              <a:extLst>
                <a:ext uri="{FF2B5EF4-FFF2-40B4-BE49-F238E27FC236}">
                  <a16:creationId xmlns:a16="http://schemas.microsoft.com/office/drawing/2014/main" id="{FC8BF446-3048-C42C-23C8-B64FD7EC9A0A}"/>
                </a:ext>
              </a:extLst>
            </p:cNvPr>
            <p:cNvSpPr/>
            <p:nvPr/>
          </p:nvSpPr>
          <p:spPr>
            <a:xfrm>
              <a:off x="5498736" y="3091705"/>
              <a:ext cx="16002" cy="16002"/>
            </a:xfrm>
            <a:custGeom>
              <a:avLst/>
              <a:gdLst>
                <a:gd name="connsiteX0" fmla="*/ 16002 w 16002"/>
                <a:gd name="connsiteY0" fmla="*/ 8001 h 16002"/>
                <a:gd name="connsiteX1" fmla="*/ 8001 w 16002"/>
                <a:gd name="connsiteY1" fmla="*/ 16002 h 16002"/>
                <a:gd name="connsiteX2" fmla="*/ 0 w 16002"/>
                <a:gd name="connsiteY2" fmla="*/ 8001 h 16002"/>
                <a:gd name="connsiteX3" fmla="*/ 8001 w 16002"/>
                <a:gd name="connsiteY3" fmla="*/ 0 h 16002"/>
                <a:gd name="connsiteX4" fmla="*/ 16002 w 16002"/>
                <a:gd name="connsiteY4" fmla="*/ 8001 h 16002"/>
                <a:gd name="connsiteX5" fmla="*/ 16002 w 16002"/>
                <a:gd name="connsiteY5" fmla="*/ 8001 h 1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02" h="16002">
                  <a:moveTo>
                    <a:pt x="16002" y="8001"/>
                  </a:moveTo>
                  <a:cubicBezTo>
                    <a:pt x="16002" y="12478"/>
                    <a:pt x="12383" y="16002"/>
                    <a:pt x="8001" y="16002"/>
                  </a:cubicBezTo>
                  <a:cubicBezTo>
                    <a:pt x="3524" y="16002"/>
                    <a:pt x="0" y="12383"/>
                    <a:pt x="0" y="8001"/>
                  </a:cubicBezTo>
                  <a:cubicBezTo>
                    <a:pt x="0" y="3524"/>
                    <a:pt x="3620" y="0"/>
                    <a:pt x="8001" y="0"/>
                  </a:cubicBezTo>
                  <a:cubicBezTo>
                    <a:pt x="12383" y="0"/>
                    <a:pt x="16002" y="3620"/>
                    <a:pt x="16002" y="8001"/>
                  </a:cubicBezTo>
                  <a:lnTo>
                    <a:pt x="16002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8" name="Freihandform: Form 927">
              <a:extLst>
                <a:ext uri="{FF2B5EF4-FFF2-40B4-BE49-F238E27FC236}">
                  <a16:creationId xmlns:a16="http://schemas.microsoft.com/office/drawing/2014/main" id="{F1D07F8F-80B7-CDD2-A1E2-8AAFF1C1D1E0}"/>
                </a:ext>
              </a:extLst>
            </p:cNvPr>
            <p:cNvSpPr/>
            <p:nvPr/>
          </p:nvSpPr>
          <p:spPr>
            <a:xfrm>
              <a:off x="5499117" y="3092087"/>
              <a:ext cx="15239" cy="15239"/>
            </a:xfrm>
            <a:custGeom>
              <a:avLst/>
              <a:gdLst>
                <a:gd name="connsiteX0" fmla="*/ 15240 w 15239"/>
                <a:gd name="connsiteY0" fmla="*/ 7620 h 15239"/>
                <a:gd name="connsiteX1" fmla="*/ 7620 w 15239"/>
                <a:gd name="connsiteY1" fmla="*/ 15240 h 15239"/>
                <a:gd name="connsiteX2" fmla="*/ 0 w 15239"/>
                <a:gd name="connsiteY2" fmla="*/ 7620 h 15239"/>
                <a:gd name="connsiteX3" fmla="*/ 7620 w 15239"/>
                <a:gd name="connsiteY3" fmla="*/ 0 h 15239"/>
                <a:gd name="connsiteX4" fmla="*/ 15240 w 15239"/>
                <a:gd name="connsiteY4" fmla="*/ 7620 h 15239"/>
                <a:gd name="connsiteX5" fmla="*/ 15240 w 15239"/>
                <a:gd name="connsiteY5" fmla="*/ 7620 h 1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39" h="15239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29" name="Freihandform: Form 928">
              <a:extLst>
                <a:ext uri="{FF2B5EF4-FFF2-40B4-BE49-F238E27FC236}">
                  <a16:creationId xmlns:a16="http://schemas.microsoft.com/office/drawing/2014/main" id="{F1AEB1B5-9662-E603-3082-58F4808973C3}"/>
                </a:ext>
              </a:extLst>
            </p:cNvPr>
            <p:cNvSpPr/>
            <p:nvPr/>
          </p:nvSpPr>
          <p:spPr>
            <a:xfrm>
              <a:off x="5523692" y="3091515"/>
              <a:ext cx="16097" cy="16001"/>
            </a:xfrm>
            <a:custGeom>
              <a:avLst/>
              <a:gdLst>
                <a:gd name="connsiteX0" fmla="*/ 16097 w 16097"/>
                <a:gd name="connsiteY0" fmla="*/ 8001 h 16001"/>
                <a:gd name="connsiteX1" fmla="*/ 8096 w 16097"/>
                <a:gd name="connsiteY1" fmla="*/ 16002 h 16001"/>
                <a:gd name="connsiteX2" fmla="*/ 0 w 16097"/>
                <a:gd name="connsiteY2" fmla="*/ 8001 h 16001"/>
                <a:gd name="connsiteX3" fmla="*/ 8096 w 16097"/>
                <a:gd name="connsiteY3" fmla="*/ 0 h 16001"/>
                <a:gd name="connsiteX4" fmla="*/ 16097 w 16097"/>
                <a:gd name="connsiteY4" fmla="*/ 8001 h 16001"/>
                <a:gd name="connsiteX5" fmla="*/ 16097 w 16097"/>
                <a:gd name="connsiteY5" fmla="*/ 8001 h 16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97" h="16001">
                  <a:moveTo>
                    <a:pt x="16097" y="8001"/>
                  </a:moveTo>
                  <a:cubicBezTo>
                    <a:pt x="16097" y="12478"/>
                    <a:pt x="12478" y="16002"/>
                    <a:pt x="8096" y="16002"/>
                  </a:cubicBezTo>
                  <a:cubicBezTo>
                    <a:pt x="3620" y="16002"/>
                    <a:pt x="0" y="12382"/>
                    <a:pt x="0" y="8001"/>
                  </a:cubicBezTo>
                  <a:cubicBezTo>
                    <a:pt x="0" y="3524"/>
                    <a:pt x="3620" y="0"/>
                    <a:pt x="8096" y="0"/>
                  </a:cubicBezTo>
                  <a:cubicBezTo>
                    <a:pt x="12573" y="0"/>
                    <a:pt x="16097" y="3619"/>
                    <a:pt x="16097" y="8001"/>
                  </a:cubicBezTo>
                  <a:lnTo>
                    <a:pt x="16097" y="8001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0" name="Freihandform: Form 929">
              <a:extLst>
                <a:ext uri="{FF2B5EF4-FFF2-40B4-BE49-F238E27FC236}">
                  <a16:creationId xmlns:a16="http://schemas.microsoft.com/office/drawing/2014/main" id="{978BD271-0B74-AC40-28F0-ADFD5E139E2B}"/>
                </a:ext>
              </a:extLst>
            </p:cNvPr>
            <p:cNvSpPr/>
            <p:nvPr/>
          </p:nvSpPr>
          <p:spPr>
            <a:xfrm>
              <a:off x="5524168" y="3091896"/>
              <a:ext cx="15240" cy="15240"/>
            </a:xfrm>
            <a:custGeom>
              <a:avLst/>
              <a:gdLst>
                <a:gd name="connsiteX0" fmla="*/ 15240 w 15240"/>
                <a:gd name="connsiteY0" fmla="*/ 7620 h 15240"/>
                <a:gd name="connsiteX1" fmla="*/ 7620 w 15240"/>
                <a:gd name="connsiteY1" fmla="*/ 15240 h 15240"/>
                <a:gd name="connsiteX2" fmla="*/ 0 w 15240"/>
                <a:gd name="connsiteY2" fmla="*/ 7620 h 15240"/>
                <a:gd name="connsiteX3" fmla="*/ 7620 w 15240"/>
                <a:gd name="connsiteY3" fmla="*/ 0 h 15240"/>
                <a:gd name="connsiteX4" fmla="*/ 15240 w 15240"/>
                <a:gd name="connsiteY4" fmla="*/ 7620 h 15240"/>
                <a:gd name="connsiteX5" fmla="*/ 15240 w 15240"/>
                <a:gd name="connsiteY5" fmla="*/ 7620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" h="15240">
                  <a:moveTo>
                    <a:pt x="15240" y="7620"/>
                  </a:moveTo>
                  <a:cubicBezTo>
                    <a:pt x="15240" y="11811"/>
                    <a:pt x="11811" y="15240"/>
                    <a:pt x="7620" y="15240"/>
                  </a:cubicBezTo>
                  <a:cubicBezTo>
                    <a:pt x="3429" y="15240"/>
                    <a:pt x="0" y="11811"/>
                    <a:pt x="0" y="7620"/>
                  </a:cubicBezTo>
                  <a:cubicBezTo>
                    <a:pt x="0" y="3429"/>
                    <a:pt x="3429" y="0"/>
                    <a:pt x="7620" y="0"/>
                  </a:cubicBezTo>
                  <a:cubicBezTo>
                    <a:pt x="11811" y="0"/>
                    <a:pt x="15240" y="3429"/>
                    <a:pt x="15240" y="7620"/>
                  </a:cubicBezTo>
                  <a:lnTo>
                    <a:pt x="15240" y="7620"/>
                  </a:lnTo>
                  <a:close/>
                </a:path>
              </a:pathLst>
            </a:custGeom>
            <a:solidFill>
              <a:srgbClr val="63879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1" name="Freihandform: Form 930">
              <a:extLst>
                <a:ext uri="{FF2B5EF4-FFF2-40B4-BE49-F238E27FC236}">
                  <a16:creationId xmlns:a16="http://schemas.microsoft.com/office/drawing/2014/main" id="{1390E939-BB0C-D931-33D3-8D41503887EE}"/>
                </a:ext>
              </a:extLst>
            </p:cNvPr>
            <p:cNvSpPr/>
            <p:nvPr/>
          </p:nvSpPr>
          <p:spPr>
            <a:xfrm>
              <a:off x="5612655" y="2861486"/>
              <a:ext cx="239267" cy="9906"/>
            </a:xfrm>
            <a:custGeom>
              <a:avLst/>
              <a:gdLst>
                <a:gd name="connsiteX0" fmla="*/ 236792 w 239267"/>
                <a:gd name="connsiteY0" fmla="*/ 9906 h 9906"/>
                <a:gd name="connsiteX1" fmla="*/ 239268 w 239267"/>
                <a:gd name="connsiteY1" fmla="*/ 7429 h 9906"/>
                <a:gd name="connsiteX2" fmla="*/ 239268 w 239267"/>
                <a:gd name="connsiteY2" fmla="*/ 2476 h 9906"/>
                <a:gd name="connsiteX3" fmla="*/ 236792 w 239267"/>
                <a:gd name="connsiteY3" fmla="*/ 0 h 9906"/>
                <a:gd name="connsiteX4" fmla="*/ 2476 w 239267"/>
                <a:gd name="connsiteY4" fmla="*/ 0 h 9906"/>
                <a:gd name="connsiteX5" fmla="*/ 0 w 239267"/>
                <a:gd name="connsiteY5" fmla="*/ 2476 h 9906"/>
                <a:gd name="connsiteX6" fmla="*/ 0 w 239267"/>
                <a:gd name="connsiteY6" fmla="*/ 7429 h 9906"/>
                <a:gd name="connsiteX7" fmla="*/ 2476 w 239267"/>
                <a:gd name="connsiteY7" fmla="*/ 9906 h 9906"/>
                <a:gd name="connsiteX8" fmla="*/ 236792 w 239267"/>
                <a:gd name="connsiteY8" fmla="*/ 9906 h 9906"/>
                <a:gd name="connsiteX9" fmla="*/ 236792 w 239267"/>
                <a:gd name="connsiteY9" fmla="*/ 9906 h 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267" h="9906">
                  <a:moveTo>
                    <a:pt x="236792" y="9906"/>
                  </a:moveTo>
                  <a:cubicBezTo>
                    <a:pt x="238125" y="9906"/>
                    <a:pt x="239268" y="8763"/>
                    <a:pt x="239268" y="7429"/>
                  </a:cubicBezTo>
                  <a:lnTo>
                    <a:pt x="239268" y="2476"/>
                  </a:lnTo>
                  <a:cubicBezTo>
                    <a:pt x="239268" y="1143"/>
                    <a:pt x="238125" y="0"/>
                    <a:pt x="236792" y="0"/>
                  </a:cubicBezTo>
                  <a:lnTo>
                    <a:pt x="2476" y="0"/>
                  </a:lnTo>
                  <a:cubicBezTo>
                    <a:pt x="1143" y="0"/>
                    <a:pt x="0" y="1143"/>
                    <a:pt x="0" y="2476"/>
                  </a:cubicBezTo>
                  <a:lnTo>
                    <a:pt x="0" y="7429"/>
                  </a:lnTo>
                  <a:cubicBezTo>
                    <a:pt x="0" y="8763"/>
                    <a:pt x="1143" y="9906"/>
                    <a:pt x="2476" y="9906"/>
                  </a:cubicBezTo>
                  <a:lnTo>
                    <a:pt x="236792" y="9906"/>
                  </a:lnTo>
                  <a:lnTo>
                    <a:pt x="236792" y="9906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2" name="Freihandform: Form 931">
              <a:extLst>
                <a:ext uri="{FF2B5EF4-FFF2-40B4-BE49-F238E27FC236}">
                  <a16:creationId xmlns:a16="http://schemas.microsoft.com/office/drawing/2014/main" id="{67F5A7ED-4EF1-2A01-5213-D759F3B4B0D2}"/>
                </a:ext>
              </a:extLst>
            </p:cNvPr>
            <p:cNvSpPr/>
            <p:nvPr/>
          </p:nvSpPr>
          <p:spPr>
            <a:xfrm>
              <a:off x="5903549" y="2874440"/>
              <a:ext cx="16668" cy="19907"/>
            </a:xfrm>
            <a:custGeom>
              <a:avLst/>
              <a:gdLst>
                <a:gd name="connsiteX0" fmla="*/ 16669 w 16668"/>
                <a:gd name="connsiteY0" fmla="*/ 19907 h 19907"/>
                <a:gd name="connsiteX1" fmla="*/ 16669 w 16668"/>
                <a:gd name="connsiteY1" fmla="*/ 0 h 19907"/>
                <a:gd name="connsiteX2" fmla="*/ 0 w 16668"/>
                <a:gd name="connsiteY2" fmla="*/ 0 h 19907"/>
                <a:gd name="connsiteX3" fmla="*/ 0 w 16668"/>
                <a:gd name="connsiteY3" fmla="*/ 19907 h 19907"/>
                <a:gd name="connsiteX4" fmla="*/ 16669 w 16668"/>
                <a:gd name="connsiteY4" fmla="*/ 19907 h 19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8" h="19907">
                  <a:moveTo>
                    <a:pt x="16669" y="19907"/>
                  </a:moveTo>
                  <a:lnTo>
                    <a:pt x="16669" y="0"/>
                  </a:lnTo>
                  <a:lnTo>
                    <a:pt x="0" y="0"/>
                  </a:lnTo>
                  <a:lnTo>
                    <a:pt x="0" y="19907"/>
                  </a:lnTo>
                  <a:lnTo>
                    <a:pt x="16669" y="19907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3" name="Freihandform: Form 932">
              <a:extLst>
                <a:ext uri="{FF2B5EF4-FFF2-40B4-BE49-F238E27FC236}">
                  <a16:creationId xmlns:a16="http://schemas.microsoft.com/office/drawing/2014/main" id="{67A506E3-1BD4-499D-C903-26302067FD09}"/>
                </a:ext>
              </a:extLst>
            </p:cNvPr>
            <p:cNvSpPr/>
            <p:nvPr/>
          </p:nvSpPr>
          <p:spPr>
            <a:xfrm>
              <a:off x="5627133" y="2880917"/>
              <a:ext cx="213645" cy="11620"/>
            </a:xfrm>
            <a:custGeom>
              <a:avLst/>
              <a:gdLst>
                <a:gd name="connsiteX0" fmla="*/ 213646 w 213645"/>
                <a:gd name="connsiteY0" fmla="*/ 11620 h 11620"/>
                <a:gd name="connsiteX1" fmla="*/ 213646 w 213645"/>
                <a:gd name="connsiteY1" fmla="*/ 0 h 11620"/>
                <a:gd name="connsiteX2" fmla="*/ 0 w 213645"/>
                <a:gd name="connsiteY2" fmla="*/ 0 h 11620"/>
                <a:gd name="connsiteX3" fmla="*/ 0 w 213645"/>
                <a:gd name="connsiteY3" fmla="*/ 11620 h 11620"/>
                <a:gd name="connsiteX4" fmla="*/ 213646 w 213645"/>
                <a:gd name="connsiteY4" fmla="*/ 11620 h 1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645" h="11620">
                  <a:moveTo>
                    <a:pt x="213646" y="11620"/>
                  </a:moveTo>
                  <a:lnTo>
                    <a:pt x="213646" y="0"/>
                  </a:lnTo>
                  <a:lnTo>
                    <a:pt x="0" y="0"/>
                  </a:lnTo>
                  <a:lnTo>
                    <a:pt x="0" y="11620"/>
                  </a:lnTo>
                  <a:lnTo>
                    <a:pt x="213646" y="11620"/>
                  </a:lnTo>
                  <a:close/>
                </a:path>
              </a:pathLst>
            </a:custGeom>
            <a:solidFill>
              <a:srgbClr val="BBBBB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4" name="Freihandform: Form 933">
              <a:extLst>
                <a:ext uri="{FF2B5EF4-FFF2-40B4-BE49-F238E27FC236}">
                  <a16:creationId xmlns:a16="http://schemas.microsoft.com/office/drawing/2014/main" id="{625DDA9F-6283-513D-3875-3823E80D0456}"/>
                </a:ext>
              </a:extLst>
            </p:cNvPr>
            <p:cNvSpPr/>
            <p:nvPr/>
          </p:nvSpPr>
          <p:spPr>
            <a:xfrm>
              <a:off x="5882689" y="3066369"/>
              <a:ext cx="40004" cy="17811"/>
            </a:xfrm>
            <a:custGeom>
              <a:avLst/>
              <a:gdLst>
                <a:gd name="connsiteX0" fmla="*/ 40005 w 40004"/>
                <a:gd name="connsiteY0" fmla="*/ 17812 h 17811"/>
                <a:gd name="connsiteX1" fmla="*/ 40005 w 40004"/>
                <a:gd name="connsiteY1" fmla="*/ 0 h 17811"/>
                <a:gd name="connsiteX2" fmla="*/ 0 w 40004"/>
                <a:gd name="connsiteY2" fmla="*/ 0 h 17811"/>
                <a:gd name="connsiteX3" fmla="*/ 0 w 40004"/>
                <a:gd name="connsiteY3" fmla="*/ 17812 h 17811"/>
                <a:gd name="connsiteX4" fmla="*/ 40005 w 40004"/>
                <a:gd name="connsiteY4" fmla="*/ 17812 h 1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4" h="17811">
                  <a:moveTo>
                    <a:pt x="40005" y="17812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17812"/>
                  </a:lnTo>
                  <a:lnTo>
                    <a:pt x="40005" y="17812"/>
                  </a:lnTo>
                  <a:close/>
                </a:path>
              </a:pathLst>
            </a:custGeom>
            <a:solidFill>
              <a:srgbClr val="EBEB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35" name="Freihandform: Form 934">
              <a:extLst>
                <a:ext uri="{FF2B5EF4-FFF2-40B4-BE49-F238E27FC236}">
                  <a16:creationId xmlns:a16="http://schemas.microsoft.com/office/drawing/2014/main" id="{AA64DC84-91C8-73F3-8A40-0DBAE1574277}"/>
                </a:ext>
              </a:extLst>
            </p:cNvPr>
            <p:cNvSpPr/>
            <p:nvPr/>
          </p:nvSpPr>
          <p:spPr>
            <a:xfrm>
              <a:off x="5369863" y="2817576"/>
              <a:ext cx="49149" cy="51054"/>
            </a:xfrm>
            <a:custGeom>
              <a:avLst/>
              <a:gdLst>
                <a:gd name="connsiteX0" fmla="*/ 49149 w 49149"/>
                <a:gd name="connsiteY0" fmla="*/ 51054 h 51054"/>
                <a:gd name="connsiteX1" fmla="*/ 49149 w 49149"/>
                <a:gd name="connsiteY1" fmla="*/ 0 h 51054"/>
                <a:gd name="connsiteX2" fmla="*/ 0 w 49149"/>
                <a:gd name="connsiteY2" fmla="*/ 0 h 51054"/>
                <a:gd name="connsiteX3" fmla="*/ 0 w 49149"/>
                <a:gd name="connsiteY3" fmla="*/ 51054 h 51054"/>
                <a:gd name="connsiteX4" fmla="*/ 49149 w 49149"/>
                <a:gd name="connsiteY4" fmla="*/ 51054 h 5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49" h="51054">
                  <a:moveTo>
                    <a:pt x="49149" y="51054"/>
                  </a:moveTo>
                  <a:lnTo>
                    <a:pt x="49149" y="0"/>
                  </a:lnTo>
                  <a:lnTo>
                    <a:pt x="0" y="0"/>
                  </a:lnTo>
                  <a:lnTo>
                    <a:pt x="0" y="51054"/>
                  </a:lnTo>
                  <a:lnTo>
                    <a:pt x="49149" y="51054"/>
                  </a:lnTo>
                  <a:close/>
                </a:path>
              </a:pathLst>
            </a:custGeom>
            <a:solidFill>
              <a:srgbClr val="B1C6C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940" name="Gruppieren 939">
            <a:extLst>
              <a:ext uri="{FF2B5EF4-FFF2-40B4-BE49-F238E27FC236}">
                <a16:creationId xmlns:a16="http://schemas.microsoft.com/office/drawing/2014/main" id="{410F7262-E6E7-AF7C-52BC-9F0E1418AD82}"/>
              </a:ext>
            </a:extLst>
          </p:cNvPr>
          <p:cNvGrpSpPr/>
          <p:nvPr/>
        </p:nvGrpSpPr>
        <p:grpSpPr>
          <a:xfrm>
            <a:off x="1586512" y="4438492"/>
            <a:ext cx="170941" cy="187050"/>
            <a:chOff x="5045632" y="2780143"/>
            <a:chExt cx="136316" cy="149161"/>
          </a:xfrm>
        </p:grpSpPr>
        <p:sp>
          <p:nvSpPr>
            <p:cNvPr id="941" name="Freihandform: Form 940">
              <a:extLst>
                <a:ext uri="{FF2B5EF4-FFF2-40B4-BE49-F238E27FC236}">
                  <a16:creationId xmlns:a16="http://schemas.microsoft.com/office/drawing/2014/main" id="{FABFE7DA-D480-1CBF-CFC1-91791D33C6B8}"/>
                </a:ext>
              </a:extLst>
            </p:cNvPr>
            <p:cNvSpPr/>
            <p:nvPr/>
          </p:nvSpPr>
          <p:spPr>
            <a:xfrm>
              <a:off x="5045632" y="2814433"/>
              <a:ext cx="87820" cy="87820"/>
            </a:xfrm>
            <a:custGeom>
              <a:avLst/>
              <a:gdLst>
                <a:gd name="connsiteX0" fmla="*/ 87821 w 87820"/>
                <a:gd name="connsiteY0" fmla="*/ 43910 h 87820"/>
                <a:gd name="connsiteX1" fmla="*/ 43910 w 87820"/>
                <a:gd name="connsiteY1" fmla="*/ 87820 h 87820"/>
                <a:gd name="connsiteX2" fmla="*/ 0 w 87820"/>
                <a:gd name="connsiteY2" fmla="*/ 43910 h 87820"/>
                <a:gd name="connsiteX3" fmla="*/ 43910 w 87820"/>
                <a:gd name="connsiteY3" fmla="*/ 0 h 87820"/>
                <a:gd name="connsiteX4" fmla="*/ 87821 w 87820"/>
                <a:gd name="connsiteY4" fmla="*/ 43910 h 8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820" h="87820">
                  <a:moveTo>
                    <a:pt x="87821" y="43910"/>
                  </a:moveTo>
                  <a:cubicBezTo>
                    <a:pt x="87821" y="68161"/>
                    <a:pt x="68161" y="87820"/>
                    <a:pt x="43910" y="87820"/>
                  </a:cubicBezTo>
                  <a:cubicBezTo>
                    <a:pt x="19659" y="87820"/>
                    <a:pt x="0" y="68161"/>
                    <a:pt x="0" y="43910"/>
                  </a:cubicBezTo>
                  <a:cubicBezTo>
                    <a:pt x="0" y="19659"/>
                    <a:pt x="19659" y="0"/>
                    <a:pt x="43910" y="0"/>
                  </a:cubicBezTo>
                  <a:cubicBezTo>
                    <a:pt x="68161" y="0"/>
                    <a:pt x="87821" y="19659"/>
                    <a:pt x="87821" y="43910"/>
                  </a:cubicBez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2" name="Freihandform: Form 941">
              <a:extLst>
                <a:ext uri="{FF2B5EF4-FFF2-40B4-BE49-F238E27FC236}">
                  <a16:creationId xmlns:a16="http://schemas.microsoft.com/office/drawing/2014/main" id="{DF6889AC-8D29-21A6-31A2-48DA505C29CA}"/>
                </a:ext>
              </a:extLst>
            </p:cNvPr>
            <p:cNvSpPr/>
            <p:nvPr/>
          </p:nvSpPr>
          <p:spPr>
            <a:xfrm>
              <a:off x="5056109" y="2807194"/>
              <a:ext cx="66865" cy="43910"/>
            </a:xfrm>
            <a:custGeom>
              <a:avLst/>
              <a:gdLst>
                <a:gd name="connsiteX0" fmla="*/ 48101 w 66865"/>
                <a:gd name="connsiteY0" fmla="*/ 43910 h 43910"/>
                <a:gd name="connsiteX1" fmla="*/ 19241 w 66865"/>
                <a:gd name="connsiteY1" fmla="*/ 43910 h 43910"/>
                <a:gd name="connsiteX2" fmla="*/ 0 w 66865"/>
                <a:gd name="connsiteY2" fmla="*/ 0 h 43910"/>
                <a:gd name="connsiteX3" fmla="*/ 66866 w 66865"/>
                <a:gd name="connsiteY3" fmla="*/ 0 h 4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3910">
                  <a:moveTo>
                    <a:pt x="48101" y="43910"/>
                  </a:moveTo>
                  <a:lnTo>
                    <a:pt x="19241" y="43910"/>
                  </a:lnTo>
                  <a:lnTo>
                    <a:pt x="0" y="0"/>
                  </a:lnTo>
                  <a:lnTo>
                    <a:pt x="66866" y="0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3" name="Freihandform: Form 942">
              <a:extLst>
                <a:ext uri="{FF2B5EF4-FFF2-40B4-BE49-F238E27FC236}">
                  <a16:creationId xmlns:a16="http://schemas.microsoft.com/office/drawing/2014/main" id="{FE59412F-9B67-6890-3839-E4C5ADE8F8C7}"/>
                </a:ext>
              </a:extLst>
            </p:cNvPr>
            <p:cNvSpPr/>
            <p:nvPr/>
          </p:nvSpPr>
          <p:spPr>
            <a:xfrm>
              <a:off x="5056109" y="2860724"/>
              <a:ext cx="66865" cy="47053"/>
            </a:xfrm>
            <a:custGeom>
              <a:avLst/>
              <a:gdLst>
                <a:gd name="connsiteX0" fmla="*/ 18764 w 66865"/>
                <a:gd name="connsiteY0" fmla="*/ 0 h 47053"/>
                <a:gd name="connsiteX1" fmla="*/ 47530 w 66865"/>
                <a:gd name="connsiteY1" fmla="*/ 0 h 47053"/>
                <a:gd name="connsiteX2" fmla="*/ 66866 w 66865"/>
                <a:gd name="connsiteY2" fmla="*/ 47054 h 47053"/>
                <a:gd name="connsiteX3" fmla="*/ 0 w 66865"/>
                <a:gd name="connsiteY3" fmla="*/ 47054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7053">
                  <a:moveTo>
                    <a:pt x="18764" y="0"/>
                  </a:moveTo>
                  <a:lnTo>
                    <a:pt x="47530" y="0"/>
                  </a:lnTo>
                  <a:lnTo>
                    <a:pt x="66866" y="47054"/>
                  </a:lnTo>
                  <a:lnTo>
                    <a:pt x="0" y="47054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4" name="Freihandform: Form 943">
              <a:extLst>
                <a:ext uri="{FF2B5EF4-FFF2-40B4-BE49-F238E27FC236}">
                  <a16:creationId xmlns:a16="http://schemas.microsoft.com/office/drawing/2014/main" id="{A97B5075-3D70-2179-D6D8-E6F36A2D48D4}"/>
                </a:ext>
              </a:extLst>
            </p:cNvPr>
            <p:cNvSpPr/>
            <p:nvPr/>
          </p:nvSpPr>
          <p:spPr>
            <a:xfrm>
              <a:off x="5050585" y="278014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5" name="Freihandform: Form 944">
              <a:extLst>
                <a:ext uri="{FF2B5EF4-FFF2-40B4-BE49-F238E27FC236}">
                  <a16:creationId xmlns:a16="http://schemas.microsoft.com/office/drawing/2014/main" id="{8DB7CDF6-FEC7-5B78-1CDD-88A4C4E86A72}"/>
                </a:ext>
              </a:extLst>
            </p:cNvPr>
            <p:cNvSpPr/>
            <p:nvPr/>
          </p:nvSpPr>
          <p:spPr>
            <a:xfrm>
              <a:off x="5050585" y="290225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6" name="Freihandform: Form 945">
              <a:extLst>
                <a:ext uri="{FF2B5EF4-FFF2-40B4-BE49-F238E27FC236}">
                  <a16:creationId xmlns:a16="http://schemas.microsoft.com/office/drawing/2014/main" id="{15BEEE9D-9A2B-435C-B97D-38C7A5BA67ED}"/>
                </a:ext>
              </a:extLst>
            </p:cNvPr>
            <p:cNvSpPr/>
            <p:nvPr/>
          </p:nvSpPr>
          <p:spPr>
            <a:xfrm>
              <a:off x="5122689" y="2851104"/>
              <a:ext cx="54673" cy="7238"/>
            </a:xfrm>
            <a:custGeom>
              <a:avLst/>
              <a:gdLst>
                <a:gd name="connsiteX0" fmla="*/ 0 w 54673"/>
                <a:gd name="connsiteY0" fmla="*/ 0 h 7238"/>
                <a:gd name="connsiteX1" fmla="*/ 54674 w 54673"/>
                <a:gd name="connsiteY1" fmla="*/ 0 h 7238"/>
                <a:gd name="connsiteX2" fmla="*/ 54674 w 54673"/>
                <a:gd name="connsiteY2" fmla="*/ 7239 h 7238"/>
                <a:gd name="connsiteX3" fmla="*/ 0 w 54673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73" h="7238">
                  <a:moveTo>
                    <a:pt x="0" y="0"/>
                  </a:moveTo>
                  <a:lnTo>
                    <a:pt x="54674" y="0"/>
                  </a:lnTo>
                  <a:lnTo>
                    <a:pt x="54674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7" name="Freihandform: Form 946">
              <a:extLst>
                <a:ext uri="{FF2B5EF4-FFF2-40B4-BE49-F238E27FC236}">
                  <a16:creationId xmlns:a16="http://schemas.microsoft.com/office/drawing/2014/main" id="{CDE0495D-D670-671A-191F-4D2113A9166C}"/>
                </a:ext>
              </a:extLst>
            </p:cNvPr>
            <p:cNvSpPr/>
            <p:nvPr/>
          </p:nvSpPr>
          <p:spPr>
            <a:xfrm rot="16200000">
              <a:off x="5144516" y="2851071"/>
              <a:ext cx="65627" cy="7238"/>
            </a:xfrm>
            <a:custGeom>
              <a:avLst/>
              <a:gdLst>
                <a:gd name="connsiteX0" fmla="*/ 0 w 65627"/>
                <a:gd name="connsiteY0" fmla="*/ 0 h 7238"/>
                <a:gd name="connsiteX1" fmla="*/ 65627 w 65627"/>
                <a:gd name="connsiteY1" fmla="*/ 0 h 7238"/>
                <a:gd name="connsiteX2" fmla="*/ 65627 w 65627"/>
                <a:gd name="connsiteY2" fmla="*/ 7239 h 7238"/>
                <a:gd name="connsiteX3" fmla="*/ 0 w 65627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627" h="7238">
                  <a:moveTo>
                    <a:pt x="0" y="0"/>
                  </a:moveTo>
                  <a:lnTo>
                    <a:pt x="65627" y="0"/>
                  </a:lnTo>
                  <a:lnTo>
                    <a:pt x="65627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8" name="Freihandform: Form 947">
              <a:extLst>
                <a:ext uri="{FF2B5EF4-FFF2-40B4-BE49-F238E27FC236}">
                  <a16:creationId xmlns:a16="http://schemas.microsoft.com/office/drawing/2014/main" id="{9CCC26E6-1EFE-DF5E-935C-95198967D428}"/>
                </a:ext>
              </a:extLst>
            </p:cNvPr>
            <p:cNvSpPr/>
            <p:nvPr/>
          </p:nvSpPr>
          <p:spPr>
            <a:xfrm rot="19482087">
              <a:off x="5148976" y="2840692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49" name="Freihandform: Form 948">
              <a:extLst>
                <a:ext uri="{FF2B5EF4-FFF2-40B4-BE49-F238E27FC236}">
                  <a16:creationId xmlns:a16="http://schemas.microsoft.com/office/drawing/2014/main" id="{9D2BC6EF-A366-3173-1BAE-E0DE9486900A}"/>
                </a:ext>
              </a:extLst>
            </p:cNvPr>
            <p:cNvSpPr/>
            <p:nvPr/>
          </p:nvSpPr>
          <p:spPr>
            <a:xfrm rot="2117913">
              <a:off x="5149089" y="2860724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950" name="Gruppieren 949">
            <a:extLst>
              <a:ext uri="{FF2B5EF4-FFF2-40B4-BE49-F238E27FC236}">
                <a16:creationId xmlns:a16="http://schemas.microsoft.com/office/drawing/2014/main" id="{C6DC5AE2-16DC-3466-8799-2AB4C94EFA39}"/>
              </a:ext>
            </a:extLst>
          </p:cNvPr>
          <p:cNvGrpSpPr/>
          <p:nvPr/>
        </p:nvGrpSpPr>
        <p:grpSpPr>
          <a:xfrm>
            <a:off x="3074442" y="4388094"/>
            <a:ext cx="312804" cy="306174"/>
            <a:chOff x="6189775" y="2773285"/>
            <a:chExt cx="166306" cy="162781"/>
          </a:xfrm>
        </p:grpSpPr>
        <p:sp>
          <p:nvSpPr>
            <p:cNvPr id="951" name="Freihandform: Form 950">
              <a:extLst>
                <a:ext uri="{FF2B5EF4-FFF2-40B4-BE49-F238E27FC236}">
                  <a16:creationId xmlns:a16="http://schemas.microsoft.com/office/drawing/2014/main" id="{8B69ADDB-3692-3485-A97E-DE40118430A3}"/>
                </a:ext>
              </a:extLst>
            </p:cNvPr>
            <p:cNvSpPr/>
            <p:nvPr/>
          </p:nvSpPr>
          <p:spPr>
            <a:xfrm>
              <a:off x="6189775" y="2773380"/>
              <a:ext cx="166306" cy="162686"/>
            </a:xfrm>
            <a:custGeom>
              <a:avLst/>
              <a:gdLst>
                <a:gd name="connsiteX0" fmla="*/ 166306 w 166306"/>
                <a:gd name="connsiteY0" fmla="*/ 81344 h 162686"/>
                <a:gd name="connsiteX1" fmla="*/ 83153 w 166306"/>
                <a:gd name="connsiteY1" fmla="*/ 162687 h 162686"/>
                <a:gd name="connsiteX2" fmla="*/ 0 w 166306"/>
                <a:gd name="connsiteY2" fmla="*/ 81344 h 162686"/>
                <a:gd name="connsiteX3" fmla="*/ 83153 w 166306"/>
                <a:gd name="connsiteY3" fmla="*/ 0 h 162686"/>
                <a:gd name="connsiteX4" fmla="*/ 166306 w 166306"/>
                <a:gd name="connsiteY4" fmla="*/ 81344 h 16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306" h="162686">
                  <a:moveTo>
                    <a:pt x="166306" y="81344"/>
                  </a:moveTo>
                  <a:cubicBezTo>
                    <a:pt x="166306" y="126268"/>
                    <a:pt x="129077" y="162687"/>
                    <a:pt x="83153" y="162687"/>
                  </a:cubicBezTo>
                  <a:cubicBezTo>
                    <a:pt x="37229" y="162687"/>
                    <a:pt x="0" y="126268"/>
                    <a:pt x="0" y="81344"/>
                  </a:cubicBezTo>
                  <a:cubicBezTo>
                    <a:pt x="0" y="36419"/>
                    <a:pt x="37229" y="0"/>
                    <a:pt x="83153" y="0"/>
                  </a:cubicBezTo>
                  <a:cubicBezTo>
                    <a:pt x="129077" y="0"/>
                    <a:pt x="166306" y="36419"/>
                    <a:pt x="166306" y="813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2" name="Freihandform: Form 951">
              <a:extLst>
                <a:ext uri="{FF2B5EF4-FFF2-40B4-BE49-F238E27FC236}">
                  <a16:creationId xmlns:a16="http://schemas.microsoft.com/office/drawing/2014/main" id="{5386EC72-C48E-7AF4-8997-BD78D201C416}"/>
                </a:ext>
              </a:extLst>
            </p:cNvPr>
            <p:cNvSpPr/>
            <p:nvPr/>
          </p:nvSpPr>
          <p:spPr>
            <a:xfrm>
              <a:off x="6295026" y="2789763"/>
              <a:ext cx="46291" cy="109823"/>
            </a:xfrm>
            <a:custGeom>
              <a:avLst/>
              <a:gdLst>
                <a:gd name="connsiteX0" fmla="*/ 29432 w 46291"/>
                <a:gd name="connsiteY0" fmla="*/ 109823 h 109823"/>
                <a:gd name="connsiteX1" fmla="*/ 46292 w 46291"/>
                <a:gd name="connsiteY1" fmla="*/ 64770 h 109823"/>
                <a:gd name="connsiteX2" fmla="*/ 0 w 46291"/>
                <a:gd name="connsiteY2" fmla="*/ 0 h 109823"/>
                <a:gd name="connsiteX3" fmla="*/ 29432 w 46291"/>
                <a:gd name="connsiteY3" fmla="*/ 109823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29432" y="109823"/>
                  </a:moveTo>
                  <a:cubicBezTo>
                    <a:pt x="39910" y="97822"/>
                    <a:pt x="46292" y="82010"/>
                    <a:pt x="46292" y="64770"/>
                  </a:cubicBezTo>
                  <a:cubicBezTo>
                    <a:pt x="46292" y="34671"/>
                    <a:pt x="26956" y="9144"/>
                    <a:pt x="0" y="0"/>
                  </a:cubicBezTo>
                  <a:lnTo>
                    <a:pt x="29432" y="10982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3" name="Freihandform: Form 952">
              <a:extLst>
                <a:ext uri="{FF2B5EF4-FFF2-40B4-BE49-F238E27FC236}">
                  <a16:creationId xmlns:a16="http://schemas.microsoft.com/office/drawing/2014/main" id="{0741FB2C-3B9E-5888-89FC-2E1509D55771}"/>
                </a:ext>
              </a:extLst>
            </p:cNvPr>
            <p:cNvSpPr/>
            <p:nvPr/>
          </p:nvSpPr>
          <p:spPr>
            <a:xfrm>
              <a:off x="6204443" y="2789763"/>
              <a:ext cx="46291" cy="109823"/>
            </a:xfrm>
            <a:custGeom>
              <a:avLst/>
              <a:gdLst>
                <a:gd name="connsiteX0" fmla="*/ 46292 w 46291"/>
                <a:gd name="connsiteY0" fmla="*/ 0 h 109823"/>
                <a:gd name="connsiteX1" fmla="*/ 0 w 46291"/>
                <a:gd name="connsiteY1" fmla="*/ 64770 h 109823"/>
                <a:gd name="connsiteX2" fmla="*/ 16859 w 46291"/>
                <a:gd name="connsiteY2" fmla="*/ 109823 h 109823"/>
                <a:gd name="connsiteX3" fmla="*/ 46292 w 46291"/>
                <a:gd name="connsiteY3" fmla="*/ 0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46292" y="0"/>
                  </a:moveTo>
                  <a:cubicBezTo>
                    <a:pt x="19336" y="9239"/>
                    <a:pt x="0" y="34766"/>
                    <a:pt x="0" y="64770"/>
                  </a:cubicBezTo>
                  <a:cubicBezTo>
                    <a:pt x="0" y="82010"/>
                    <a:pt x="6382" y="97726"/>
                    <a:pt x="16859" y="109823"/>
                  </a:cubicBezTo>
                  <a:lnTo>
                    <a:pt x="46292" y="0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4" name="Freihandform: Form 953">
              <a:extLst>
                <a:ext uri="{FF2B5EF4-FFF2-40B4-BE49-F238E27FC236}">
                  <a16:creationId xmlns:a16="http://schemas.microsoft.com/office/drawing/2014/main" id="{39D02CF1-42B2-A12D-E51F-E27261C56C6A}"/>
                </a:ext>
              </a:extLst>
            </p:cNvPr>
            <p:cNvSpPr/>
            <p:nvPr/>
          </p:nvSpPr>
          <p:spPr>
            <a:xfrm>
              <a:off x="6227494" y="2786048"/>
              <a:ext cx="90868" cy="136969"/>
            </a:xfrm>
            <a:custGeom>
              <a:avLst/>
              <a:gdLst>
                <a:gd name="connsiteX0" fmla="*/ 59150 w 90868"/>
                <a:gd name="connsiteY0" fmla="*/ 1333 h 136969"/>
                <a:gd name="connsiteX1" fmla="*/ 45434 w 90868"/>
                <a:gd name="connsiteY1" fmla="*/ 0 h 136969"/>
                <a:gd name="connsiteX2" fmla="*/ 31718 w 90868"/>
                <a:gd name="connsiteY2" fmla="*/ 1333 h 136969"/>
                <a:gd name="connsiteX3" fmla="*/ 0 w 90868"/>
                <a:gd name="connsiteY3" fmla="*/ 119729 h 136969"/>
                <a:gd name="connsiteX4" fmla="*/ 45434 w 90868"/>
                <a:gd name="connsiteY4" fmla="*/ 136970 h 136969"/>
                <a:gd name="connsiteX5" fmla="*/ 90869 w 90868"/>
                <a:gd name="connsiteY5" fmla="*/ 119729 h 136969"/>
                <a:gd name="connsiteX6" fmla="*/ 59150 w 90868"/>
                <a:gd name="connsiteY6" fmla="*/ 1333 h 13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868" h="136969">
                  <a:moveTo>
                    <a:pt x="59150" y="1333"/>
                  </a:moveTo>
                  <a:cubicBezTo>
                    <a:pt x="54769" y="476"/>
                    <a:pt x="50197" y="0"/>
                    <a:pt x="45434" y="0"/>
                  </a:cubicBezTo>
                  <a:cubicBezTo>
                    <a:pt x="40672" y="0"/>
                    <a:pt x="36195" y="476"/>
                    <a:pt x="31718" y="1333"/>
                  </a:cubicBezTo>
                  <a:lnTo>
                    <a:pt x="0" y="119729"/>
                  </a:lnTo>
                  <a:cubicBezTo>
                    <a:pt x="12097" y="130397"/>
                    <a:pt x="28004" y="136970"/>
                    <a:pt x="45434" y="136970"/>
                  </a:cubicBezTo>
                  <a:cubicBezTo>
                    <a:pt x="62865" y="136970"/>
                    <a:pt x="78772" y="130492"/>
                    <a:pt x="90869" y="119729"/>
                  </a:cubicBezTo>
                  <a:lnTo>
                    <a:pt x="59150" y="133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55" name="Freihandform: Form 954">
              <a:extLst>
                <a:ext uri="{FF2B5EF4-FFF2-40B4-BE49-F238E27FC236}">
                  <a16:creationId xmlns:a16="http://schemas.microsoft.com/office/drawing/2014/main" id="{203B122E-BD70-3311-6231-9A78C91C07D6}"/>
                </a:ext>
              </a:extLst>
            </p:cNvPr>
            <p:cNvSpPr/>
            <p:nvPr/>
          </p:nvSpPr>
          <p:spPr>
            <a:xfrm>
              <a:off x="6189775" y="2773285"/>
              <a:ext cx="166306" cy="162687"/>
            </a:xfrm>
            <a:custGeom>
              <a:avLst/>
              <a:gdLst>
                <a:gd name="connsiteX0" fmla="*/ 83153 w 166306"/>
                <a:gd name="connsiteY0" fmla="*/ 0 h 162687"/>
                <a:gd name="connsiteX1" fmla="*/ 166306 w 166306"/>
                <a:gd name="connsiteY1" fmla="*/ 81343 h 162687"/>
                <a:gd name="connsiteX2" fmla="*/ 83153 w 166306"/>
                <a:gd name="connsiteY2" fmla="*/ 162687 h 162687"/>
                <a:gd name="connsiteX3" fmla="*/ 0 w 166306"/>
                <a:gd name="connsiteY3" fmla="*/ 81343 h 162687"/>
                <a:gd name="connsiteX4" fmla="*/ 83153 w 166306"/>
                <a:gd name="connsiteY4" fmla="*/ 0 h 162687"/>
                <a:gd name="connsiteX5" fmla="*/ 83153 w 166306"/>
                <a:gd name="connsiteY5" fmla="*/ 0 h 162687"/>
                <a:gd name="connsiteX6" fmla="*/ 83153 w 166306"/>
                <a:gd name="connsiteY6" fmla="*/ 9334 h 162687"/>
                <a:gd name="connsiteX7" fmla="*/ 154686 w 166306"/>
                <a:gd name="connsiteY7" fmla="*/ 81439 h 162687"/>
                <a:gd name="connsiteX8" fmla="*/ 83153 w 166306"/>
                <a:gd name="connsiteY8" fmla="*/ 153543 h 162687"/>
                <a:gd name="connsiteX9" fmla="*/ 11621 w 166306"/>
                <a:gd name="connsiteY9" fmla="*/ 81439 h 162687"/>
                <a:gd name="connsiteX10" fmla="*/ 83153 w 166306"/>
                <a:gd name="connsiteY10" fmla="*/ 9334 h 162687"/>
                <a:gd name="connsiteX11" fmla="*/ 83153 w 166306"/>
                <a:gd name="connsiteY11" fmla="*/ 9334 h 16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306" h="162687">
                  <a:moveTo>
                    <a:pt x="83153" y="0"/>
                  </a:moveTo>
                  <a:cubicBezTo>
                    <a:pt x="129064" y="0"/>
                    <a:pt x="166306" y="36481"/>
                    <a:pt x="166306" y="81343"/>
                  </a:cubicBezTo>
                  <a:cubicBezTo>
                    <a:pt x="166306" y="126301"/>
                    <a:pt x="129064" y="162687"/>
                    <a:pt x="83153" y="162687"/>
                  </a:cubicBezTo>
                  <a:cubicBezTo>
                    <a:pt x="37243" y="162687"/>
                    <a:pt x="0" y="126206"/>
                    <a:pt x="0" y="81343"/>
                  </a:cubicBezTo>
                  <a:cubicBezTo>
                    <a:pt x="0" y="36481"/>
                    <a:pt x="37243" y="0"/>
                    <a:pt x="83153" y="0"/>
                  </a:cubicBezTo>
                  <a:lnTo>
                    <a:pt x="83153" y="0"/>
                  </a:lnTo>
                  <a:close/>
                  <a:moveTo>
                    <a:pt x="83153" y="9334"/>
                  </a:moveTo>
                  <a:cubicBezTo>
                    <a:pt x="122587" y="9334"/>
                    <a:pt x="154686" y="41624"/>
                    <a:pt x="154686" y="81439"/>
                  </a:cubicBezTo>
                  <a:cubicBezTo>
                    <a:pt x="154686" y="121253"/>
                    <a:pt x="122682" y="153543"/>
                    <a:pt x="83153" y="153543"/>
                  </a:cubicBezTo>
                  <a:cubicBezTo>
                    <a:pt x="43720" y="153543"/>
                    <a:pt x="11621" y="121253"/>
                    <a:pt x="11621" y="81439"/>
                  </a:cubicBezTo>
                  <a:cubicBezTo>
                    <a:pt x="11621" y="41624"/>
                    <a:pt x="43625" y="9334"/>
                    <a:pt x="83153" y="9334"/>
                  </a:cubicBezTo>
                  <a:lnTo>
                    <a:pt x="83153" y="9334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sp>
        <p:nvSpPr>
          <p:cNvPr id="956" name="Freihandform: Form 955">
            <a:extLst>
              <a:ext uri="{FF2B5EF4-FFF2-40B4-BE49-F238E27FC236}">
                <a16:creationId xmlns:a16="http://schemas.microsoft.com/office/drawing/2014/main" id="{9B2F8BC7-424F-C6CF-AC9E-1190084DC728}"/>
              </a:ext>
            </a:extLst>
          </p:cNvPr>
          <p:cNvSpPr/>
          <p:nvPr/>
        </p:nvSpPr>
        <p:spPr>
          <a:xfrm>
            <a:off x="1643170" y="3949574"/>
            <a:ext cx="592407" cy="474570"/>
          </a:xfrm>
          <a:custGeom>
            <a:avLst/>
            <a:gdLst>
              <a:gd name="connsiteX0" fmla="*/ 480879 w 480879"/>
              <a:gd name="connsiteY0" fmla="*/ 0 h 550097"/>
              <a:gd name="connsiteX1" fmla="*/ 0 w 480879"/>
              <a:gd name="connsiteY1" fmla="*/ 0 h 550097"/>
              <a:gd name="connsiteX2" fmla="*/ 0 w 480879"/>
              <a:gd name="connsiteY2" fmla="*/ 550097 h 550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0879" h="550097">
                <a:moveTo>
                  <a:pt x="480879" y="0"/>
                </a:moveTo>
                <a:lnTo>
                  <a:pt x="0" y="0"/>
                </a:lnTo>
                <a:lnTo>
                  <a:pt x="0" y="550097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57" name="Freihandform: Form 956">
            <a:extLst>
              <a:ext uri="{FF2B5EF4-FFF2-40B4-BE49-F238E27FC236}">
                <a16:creationId xmlns:a16="http://schemas.microsoft.com/office/drawing/2014/main" id="{323B164D-4227-C6DE-C727-EC46C480B308}"/>
              </a:ext>
            </a:extLst>
          </p:cNvPr>
          <p:cNvSpPr/>
          <p:nvPr/>
        </p:nvSpPr>
        <p:spPr>
          <a:xfrm>
            <a:off x="1644703" y="4627517"/>
            <a:ext cx="571877" cy="497978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58" name="Freihandform: Form 957">
            <a:extLst>
              <a:ext uri="{FF2B5EF4-FFF2-40B4-BE49-F238E27FC236}">
                <a16:creationId xmlns:a16="http://schemas.microsoft.com/office/drawing/2014/main" id="{6727F9CB-651D-4CC7-E39C-1AF7FD9236D0}"/>
              </a:ext>
            </a:extLst>
          </p:cNvPr>
          <p:cNvSpPr/>
          <p:nvPr/>
        </p:nvSpPr>
        <p:spPr>
          <a:xfrm rot="16200000">
            <a:off x="2657006" y="4559231"/>
            <a:ext cx="435912" cy="705632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sp>
        <p:nvSpPr>
          <p:cNvPr id="959" name="Freihandform: Form 958">
            <a:extLst>
              <a:ext uri="{FF2B5EF4-FFF2-40B4-BE49-F238E27FC236}">
                <a16:creationId xmlns:a16="http://schemas.microsoft.com/office/drawing/2014/main" id="{2CF96392-4CA1-7F44-B014-7C8BC80D374E}"/>
              </a:ext>
            </a:extLst>
          </p:cNvPr>
          <p:cNvSpPr/>
          <p:nvPr/>
        </p:nvSpPr>
        <p:spPr>
          <a:xfrm rot="10800000">
            <a:off x="2534330" y="3949573"/>
            <a:ext cx="693448" cy="443037"/>
          </a:xfrm>
          <a:custGeom>
            <a:avLst/>
            <a:gdLst>
              <a:gd name="connsiteX0" fmla="*/ 0 w 488166"/>
              <a:gd name="connsiteY0" fmla="*/ 0 h 652102"/>
              <a:gd name="connsiteX1" fmla="*/ 0 w 488166"/>
              <a:gd name="connsiteY1" fmla="*/ 652102 h 652102"/>
              <a:gd name="connsiteX2" fmla="*/ 488166 w 488166"/>
              <a:gd name="connsiteY2" fmla="*/ 652102 h 652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8166" h="652102">
                <a:moveTo>
                  <a:pt x="0" y="0"/>
                </a:moveTo>
                <a:lnTo>
                  <a:pt x="0" y="652102"/>
                </a:lnTo>
                <a:lnTo>
                  <a:pt x="488166" y="652102"/>
                </a:lnTo>
              </a:path>
            </a:pathLst>
          </a:custGeom>
          <a:noFill/>
          <a:ln w="25400">
            <a:solidFill>
              <a:srgbClr val="3C464B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6" fontAlgn="base">
              <a:spcBef>
                <a:spcPct val="50000"/>
              </a:spcBef>
              <a:spcAft>
                <a:spcPct val="0"/>
              </a:spcAft>
            </a:pPr>
            <a:endParaRPr lang="en-US" sz="3196">
              <a:solidFill>
                <a:prstClr val="white"/>
              </a:solidFill>
              <a:latin typeface="Siemens Sans" pitchFamily="2" charset="0"/>
            </a:endParaRPr>
          </a:p>
        </p:txBody>
      </p:sp>
      <p:grpSp>
        <p:nvGrpSpPr>
          <p:cNvPr id="960" name="Grafik 1120">
            <a:extLst>
              <a:ext uri="{FF2B5EF4-FFF2-40B4-BE49-F238E27FC236}">
                <a16:creationId xmlns:a16="http://schemas.microsoft.com/office/drawing/2014/main" id="{14300C5B-5829-2843-14C8-75A54C71F26B}"/>
              </a:ext>
            </a:extLst>
          </p:cNvPr>
          <p:cNvGrpSpPr/>
          <p:nvPr/>
        </p:nvGrpSpPr>
        <p:grpSpPr>
          <a:xfrm>
            <a:off x="3480928" y="4433280"/>
            <a:ext cx="207116" cy="202697"/>
            <a:chOff x="6852429" y="2770237"/>
            <a:chExt cx="165163" cy="161639"/>
          </a:xfrm>
          <a:solidFill>
            <a:srgbClr val="000000"/>
          </a:solidFill>
        </p:grpSpPr>
        <p:sp>
          <p:nvSpPr>
            <p:cNvPr id="961" name="Freihandform: Form 960">
              <a:extLst>
                <a:ext uri="{FF2B5EF4-FFF2-40B4-BE49-F238E27FC236}">
                  <a16:creationId xmlns:a16="http://schemas.microsoft.com/office/drawing/2014/main" id="{3B147477-6CDC-C793-3340-509991457D73}"/>
                </a:ext>
              </a:extLst>
            </p:cNvPr>
            <p:cNvSpPr/>
            <p:nvPr/>
          </p:nvSpPr>
          <p:spPr>
            <a:xfrm>
              <a:off x="6852429" y="2770332"/>
              <a:ext cx="165163" cy="161543"/>
            </a:xfrm>
            <a:custGeom>
              <a:avLst/>
              <a:gdLst>
                <a:gd name="connsiteX0" fmla="*/ 165164 w 165163"/>
                <a:gd name="connsiteY0" fmla="*/ 80772 h 161543"/>
                <a:gd name="connsiteX1" fmla="*/ 82582 w 165163"/>
                <a:gd name="connsiteY1" fmla="*/ 161544 h 161543"/>
                <a:gd name="connsiteX2" fmla="*/ 0 w 165163"/>
                <a:gd name="connsiteY2" fmla="*/ 80772 h 161543"/>
                <a:gd name="connsiteX3" fmla="*/ 82582 w 165163"/>
                <a:gd name="connsiteY3" fmla="*/ 0 h 161543"/>
                <a:gd name="connsiteX4" fmla="*/ 165164 w 165163"/>
                <a:gd name="connsiteY4" fmla="*/ 80772 h 161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63" h="161543">
                  <a:moveTo>
                    <a:pt x="165164" y="80772"/>
                  </a:moveTo>
                  <a:cubicBezTo>
                    <a:pt x="165164" y="125381"/>
                    <a:pt x="128191" y="161544"/>
                    <a:pt x="82582" y="161544"/>
                  </a:cubicBezTo>
                  <a:cubicBezTo>
                    <a:pt x="36973" y="161544"/>
                    <a:pt x="0" y="125381"/>
                    <a:pt x="0" y="80772"/>
                  </a:cubicBezTo>
                  <a:cubicBezTo>
                    <a:pt x="0" y="36163"/>
                    <a:pt x="36973" y="0"/>
                    <a:pt x="82582" y="0"/>
                  </a:cubicBezTo>
                  <a:cubicBezTo>
                    <a:pt x="128190" y="0"/>
                    <a:pt x="165164" y="36163"/>
                    <a:pt x="165164" y="8077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6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grpSp>
          <p:nvGrpSpPr>
            <p:cNvPr id="962" name="Grafik 1120">
              <a:extLst>
                <a:ext uri="{FF2B5EF4-FFF2-40B4-BE49-F238E27FC236}">
                  <a16:creationId xmlns:a16="http://schemas.microsoft.com/office/drawing/2014/main" id="{8BB1CEDA-B26B-C077-5B87-6DC162E8C923}"/>
                </a:ext>
              </a:extLst>
            </p:cNvPr>
            <p:cNvGrpSpPr/>
            <p:nvPr/>
          </p:nvGrpSpPr>
          <p:grpSpPr>
            <a:xfrm>
              <a:off x="6852429" y="2770237"/>
              <a:ext cx="165163" cy="161544"/>
              <a:chOff x="6852429" y="2770237"/>
              <a:chExt cx="165163" cy="161544"/>
            </a:xfrm>
            <a:solidFill>
              <a:srgbClr val="5A616B"/>
            </a:solidFill>
          </p:grpSpPr>
          <p:sp>
            <p:nvSpPr>
              <p:cNvPr id="963" name="Freihandform: Form 962">
                <a:extLst>
                  <a:ext uri="{FF2B5EF4-FFF2-40B4-BE49-F238E27FC236}">
                    <a16:creationId xmlns:a16="http://schemas.microsoft.com/office/drawing/2014/main" id="{20760740-F83C-0C77-34BE-EC75FD5FFA36}"/>
                  </a:ext>
                </a:extLst>
              </p:cNvPr>
              <p:cNvSpPr/>
              <p:nvPr/>
            </p:nvSpPr>
            <p:spPr>
              <a:xfrm>
                <a:off x="6852429" y="2770237"/>
                <a:ext cx="165163" cy="161544"/>
              </a:xfrm>
              <a:custGeom>
                <a:avLst/>
                <a:gdLst>
                  <a:gd name="connsiteX0" fmla="*/ 82582 w 165163"/>
                  <a:gd name="connsiteY0" fmla="*/ 0 h 161544"/>
                  <a:gd name="connsiteX1" fmla="*/ 165163 w 165163"/>
                  <a:gd name="connsiteY1" fmla="*/ 80772 h 161544"/>
                  <a:gd name="connsiteX2" fmla="*/ 82582 w 165163"/>
                  <a:gd name="connsiteY2" fmla="*/ 161544 h 161544"/>
                  <a:gd name="connsiteX3" fmla="*/ 0 w 165163"/>
                  <a:gd name="connsiteY3" fmla="*/ 80772 h 161544"/>
                  <a:gd name="connsiteX4" fmla="*/ 82582 w 165163"/>
                  <a:gd name="connsiteY4" fmla="*/ 0 h 161544"/>
                  <a:gd name="connsiteX5" fmla="*/ 82582 w 165163"/>
                  <a:gd name="connsiteY5" fmla="*/ 0 h 161544"/>
                  <a:gd name="connsiteX6" fmla="*/ 82582 w 165163"/>
                  <a:gd name="connsiteY6" fmla="*/ 9239 h 161544"/>
                  <a:gd name="connsiteX7" fmla="*/ 153638 w 165163"/>
                  <a:gd name="connsiteY7" fmla="*/ 80772 h 161544"/>
                  <a:gd name="connsiteX8" fmla="*/ 82582 w 165163"/>
                  <a:gd name="connsiteY8" fmla="*/ 152305 h 161544"/>
                  <a:gd name="connsiteX9" fmla="*/ 11525 w 165163"/>
                  <a:gd name="connsiteY9" fmla="*/ 80772 h 161544"/>
                  <a:gd name="connsiteX10" fmla="*/ 82582 w 165163"/>
                  <a:gd name="connsiteY10" fmla="*/ 9239 h 161544"/>
                  <a:gd name="connsiteX11" fmla="*/ 82582 w 165163"/>
                  <a:gd name="connsiteY11" fmla="*/ 9239 h 16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163" h="161544">
                    <a:moveTo>
                      <a:pt x="82582" y="0"/>
                    </a:moveTo>
                    <a:cubicBezTo>
                      <a:pt x="128206" y="0"/>
                      <a:pt x="165163" y="36195"/>
                      <a:pt x="165163" y="80772"/>
                    </a:cubicBezTo>
                    <a:cubicBezTo>
                      <a:pt x="165163" y="125349"/>
                      <a:pt x="128111" y="161544"/>
                      <a:pt x="82582" y="161544"/>
                    </a:cubicBezTo>
                    <a:cubicBezTo>
                      <a:pt x="36957" y="161544"/>
                      <a:pt x="0" y="125349"/>
                      <a:pt x="0" y="80772"/>
                    </a:cubicBezTo>
                    <a:cubicBezTo>
                      <a:pt x="0" y="36290"/>
                      <a:pt x="36957" y="0"/>
                      <a:pt x="82582" y="0"/>
                    </a:cubicBezTo>
                    <a:lnTo>
                      <a:pt x="82582" y="0"/>
                    </a:lnTo>
                    <a:close/>
                    <a:moveTo>
                      <a:pt x="82582" y="9239"/>
                    </a:moveTo>
                    <a:cubicBezTo>
                      <a:pt x="121825" y="9239"/>
                      <a:pt x="153638" y="41338"/>
                      <a:pt x="153638" y="80772"/>
                    </a:cubicBezTo>
                    <a:cubicBezTo>
                      <a:pt x="153638" y="120301"/>
                      <a:pt x="121825" y="152305"/>
                      <a:pt x="82582" y="152305"/>
                    </a:cubicBezTo>
                    <a:cubicBezTo>
                      <a:pt x="43339" y="152305"/>
                      <a:pt x="11525" y="120206"/>
                      <a:pt x="11525" y="80772"/>
                    </a:cubicBezTo>
                    <a:cubicBezTo>
                      <a:pt x="11525" y="41338"/>
                      <a:pt x="43339" y="9239"/>
                      <a:pt x="82582" y="9239"/>
                    </a:cubicBezTo>
                    <a:lnTo>
                      <a:pt x="82582" y="9239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48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3196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  <p:sp>
            <p:nvSpPr>
              <p:cNvPr id="964" name="Freihandform: Form 963">
                <a:extLst>
                  <a:ext uri="{FF2B5EF4-FFF2-40B4-BE49-F238E27FC236}">
                    <a16:creationId xmlns:a16="http://schemas.microsoft.com/office/drawing/2014/main" id="{509CFDA9-833A-7048-0ACA-53C1950F68B3}"/>
                  </a:ext>
                </a:extLst>
              </p:cNvPr>
              <p:cNvSpPr/>
              <p:nvPr/>
            </p:nvSpPr>
            <p:spPr>
              <a:xfrm>
                <a:off x="6867003" y="2782905"/>
                <a:ext cx="136016" cy="136016"/>
              </a:xfrm>
              <a:custGeom>
                <a:avLst/>
                <a:gdLst>
                  <a:gd name="connsiteX0" fmla="*/ 68008 w 136016"/>
                  <a:gd name="connsiteY0" fmla="*/ 0 h 136016"/>
                  <a:gd name="connsiteX1" fmla="*/ 0 w 136016"/>
                  <a:gd name="connsiteY1" fmla="*/ 68008 h 136016"/>
                  <a:gd name="connsiteX2" fmla="*/ 68008 w 136016"/>
                  <a:gd name="connsiteY2" fmla="*/ 136017 h 136016"/>
                  <a:gd name="connsiteX3" fmla="*/ 136017 w 136016"/>
                  <a:gd name="connsiteY3" fmla="*/ 68008 h 136016"/>
                  <a:gd name="connsiteX4" fmla="*/ 68008 w 136016"/>
                  <a:gd name="connsiteY4" fmla="*/ 0 h 136016"/>
                  <a:gd name="connsiteX5" fmla="*/ 89059 w 136016"/>
                  <a:gd name="connsiteY5" fmla="*/ 100013 h 136016"/>
                  <a:gd name="connsiteX6" fmla="*/ 88106 w 136016"/>
                  <a:gd name="connsiteY6" fmla="*/ 75724 h 136016"/>
                  <a:gd name="connsiteX7" fmla="*/ 87535 w 136016"/>
                  <a:gd name="connsiteY7" fmla="*/ 49625 h 136016"/>
                  <a:gd name="connsiteX8" fmla="*/ 87249 w 136016"/>
                  <a:gd name="connsiteY8" fmla="*/ 49625 h 136016"/>
                  <a:gd name="connsiteX9" fmla="*/ 80200 w 136016"/>
                  <a:gd name="connsiteY9" fmla="*/ 74200 h 136016"/>
                  <a:gd name="connsiteX10" fmla="*/ 72485 w 136016"/>
                  <a:gd name="connsiteY10" fmla="*/ 98965 h 136016"/>
                  <a:gd name="connsiteX11" fmla="*/ 61246 w 136016"/>
                  <a:gd name="connsiteY11" fmla="*/ 98965 h 136016"/>
                  <a:gd name="connsiteX12" fmla="*/ 54483 w 136016"/>
                  <a:gd name="connsiteY12" fmla="*/ 74390 h 136016"/>
                  <a:gd name="connsiteX13" fmla="*/ 48768 w 136016"/>
                  <a:gd name="connsiteY13" fmla="*/ 49625 h 136016"/>
                  <a:gd name="connsiteX14" fmla="*/ 48578 w 136016"/>
                  <a:gd name="connsiteY14" fmla="*/ 49625 h 136016"/>
                  <a:gd name="connsiteX15" fmla="*/ 47434 w 136016"/>
                  <a:gd name="connsiteY15" fmla="*/ 75914 h 136016"/>
                  <a:gd name="connsiteX16" fmla="*/ 46291 w 136016"/>
                  <a:gd name="connsiteY16" fmla="*/ 100108 h 136016"/>
                  <a:gd name="connsiteX17" fmla="*/ 32956 w 136016"/>
                  <a:gd name="connsiteY17" fmla="*/ 100108 h 136016"/>
                  <a:gd name="connsiteX18" fmla="*/ 37052 w 136016"/>
                  <a:gd name="connsiteY18" fmla="*/ 36481 h 136016"/>
                  <a:gd name="connsiteX19" fmla="*/ 56197 w 136016"/>
                  <a:gd name="connsiteY19" fmla="*/ 36481 h 136016"/>
                  <a:gd name="connsiteX20" fmla="*/ 62389 w 136016"/>
                  <a:gd name="connsiteY20" fmla="*/ 57721 h 136016"/>
                  <a:gd name="connsiteX21" fmla="*/ 67723 w 136016"/>
                  <a:gd name="connsiteY21" fmla="*/ 80486 h 136016"/>
                  <a:gd name="connsiteX22" fmla="*/ 68008 w 136016"/>
                  <a:gd name="connsiteY22" fmla="*/ 80486 h 136016"/>
                  <a:gd name="connsiteX23" fmla="*/ 74009 w 136016"/>
                  <a:gd name="connsiteY23" fmla="*/ 57626 h 136016"/>
                  <a:gd name="connsiteX24" fmla="*/ 80772 w 136016"/>
                  <a:gd name="connsiteY24" fmla="*/ 36481 h 136016"/>
                  <a:gd name="connsiteX25" fmla="*/ 99536 w 136016"/>
                  <a:gd name="connsiteY25" fmla="*/ 36481 h 136016"/>
                  <a:gd name="connsiteX26" fmla="*/ 103061 w 136016"/>
                  <a:gd name="connsiteY26" fmla="*/ 100108 h 136016"/>
                  <a:gd name="connsiteX27" fmla="*/ 89059 w 136016"/>
                  <a:gd name="connsiteY27" fmla="*/ 100108 h 13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16" h="136016">
                    <a:moveTo>
                      <a:pt x="68008" y="0"/>
                    </a:moveTo>
                    <a:cubicBezTo>
                      <a:pt x="30480" y="0"/>
                      <a:pt x="0" y="30480"/>
                      <a:pt x="0" y="68008"/>
                    </a:cubicBezTo>
                    <a:cubicBezTo>
                      <a:pt x="0" y="105537"/>
                      <a:pt x="30480" y="136017"/>
                      <a:pt x="68008" y="136017"/>
                    </a:cubicBezTo>
                    <a:cubicBezTo>
                      <a:pt x="105537" y="136017"/>
                      <a:pt x="136017" y="105537"/>
                      <a:pt x="136017" y="68008"/>
                    </a:cubicBezTo>
                    <a:cubicBezTo>
                      <a:pt x="136017" y="30480"/>
                      <a:pt x="105537" y="0"/>
                      <a:pt x="68008" y="0"/>
                    </a:cubicBezTo>
                    <a:close/>
                    <a:moveTo>
                      <a:pt x="89059" y="100013"/>
                    </a:moveTo>
                    <a:lnTo>
                      <a:pt x="88106" y="75724"/>
                    </a:lnTo>
                    <a:cubicBezTo>
                      <a:pt x="87821" y="68104"/>
                      <a:pt x="87535" y="58865"/>
                      <a:pt x="87535" y="49625"/>
                    </a:cubicBezTo>
                    <a:lnTo>
                      <a:pt x="87249" y="49625"/>
                    </a:lnTo>
                    <a:cubicBezTo>
                      <a:pt x="85249" y="57721"/>
                      <a:pt x="82677" y="66770"/>
                      <a:pt x="80200" y="74200"/>
                    </a:cubicBezTo>
                    <a:lnTo>
                      <a:pt x="72485" y="98965"/>
                    </a:lnTo>
                    <a:lnTo>
                      <a:pt x="61246" y="98965"/>
                    </a:lnTo>
                    <a:lnTo>
                      <a:pt x="54483" y="74390"/>
                    </a:lnTo>
                    <a:cubicBezTo>
                      <a:pt x="52388" y="66961"/>
                      <a:pt x="50197" y="57912"/>
                      <a:pt x="48768" y="49625"/>
                    </a:cubicBezTo>
                    <a:lnTo>
                      <a:pt x="48578" y="49625"/>
                    </a:lnTo>
                    <a:cubicBezTo>
                      <a:pt x="48196" y="58198"/>
                      <a:pt x="47911" y="68008"/>
                      <a:pt x="47434" y="75914"/>
                    </a:cubicBezTo>
                    <a:lnTo>
                      <a:pt x="46291" y="100108"/>
                    </a:lnTo>
                    <a:lnTo>
                      <a:pt x="32956" y="100108"/>
                    </a:lnTo>
                    <a:lnTo>
                      <a:pt x="37052" y="36481"/>
                    </a:lnTo>
                    <a:lnTo>
                      <a:pt x="56197" y="36481"/>
                    </a:lnTo>
                    <a:lnTo>
                      <a:pt x="62389" y="57721"/>
                    </a:lnTo>
                    <a:cubicBezTo>
                      <a:pt x="64389" y="65056"/>
                      <a:pt x="66389" y="72962"/>
                      <a:pt x="67723" y="80486"/>
                    </a:cubicBezTo>
                    <a:lnTo>
                      <a:pt x="68008" y="80486"/>
                    </a:lnTo>
                    <a:cubicBezTo>
                      <a:pt x="69818" y="73152"/>
                      <a:pt x="72009" y="64770"/>
                      <a:pt x="74009" y="57626"/>
                    </a:cubicBezTo>
                    <a:lnTo>
                      <a:pt x="80772" y="36481"/>
                    </a:lnTo>
                    <a:lnTo>
                      <a:pt x="99536" y="36481"/>
                    </a:lnTo>
                    <a:lnTo>
                      <a:pt x="103061" y="100108"/>
                    </a:lnTo>
                    <a:lnTo>
                      <a:pt x="89059" y="100108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486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3196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</p:grpSp>
      </p:grpSp>
      <p:sp>
        <p:nvSpPr>
          <p:cNvPr id="967" name="Freihandform: Form 966">
            <a:extLst>
              <a:ext uri="{FF2B5EF4-FFF2-40B4-BE49-F238E27FC236}">
                <a16:creationId xmlns:a16="http://schemas.microsoft.com/office/drawing/2014/main" id="{E778FB20-8C1B-EE0C-EEB3-3690F769FA52}"/>
              </a:ext>
            </a:extLst>
          </p:cNvPr>
          <p:cNvSpPr/>
          <p:nvPr/>
        </p:nvSpPr>
        <p:spPr bwMode="auto">
          <a:xfrm rot="10800000" flipH="1">
            <a:off x="3954891" y="3060991"/>
            <a:ext cx="520455" cy="204170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none"/>
            <a:tailEnd type="none"/>
          </a:ln>
          <a:effectLst/>
        </p:spPr>
        <p:txBody>
          <a:bodyPr rtlCol="0" anchor="ctr"/>
          <a:lstStyle/>
          <a:p>
            <a:pPr algn="ctr" defTabSz="913943">
              <a:defRPr/>
            </a:pPr>
            <a:endParaRPr lang="en-US" sz="3198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968" name="Freihandform: Form 967">
            <a:extLst>
              <a:ext uri="{FF2B5EF4-FFF2-40B4-BE49-F238E27FC236}">
                <a16:creationId xmlns:a16="http://schemas.microsoft.com/office/drawing/2014/main" id="{C358415F-9838-1822-4018-D12A72C5B9DE}"/>
              </a:ext>
            </a:extLst>
          </p:cNvPr>
          <p:cNvSpPr/>
          <p:nvPr/>
        </p:nvSpPr>
        <p:spPr bwMode="auto">
          <a:xfrm flipH="1">
            <a:off x="2901125" y="2760680"/>
            <a:ext cx="2966423" cy="140532"/>
          </a:xfrm>
          <a:custGeom>
            <a:avLst/>
            <a:gdLst>
              <a:gd name="connsiteX0" fmla="*/ 0 w 384273"/>
              <a:gd name="connsiteY0" fmla="*/ 0 h 1121963"/>
              <a:gd name="connsiteX1" fmla="*/ 384273 w 384273"/>
              <a:gd name="connsiteY1" fmla="*/ 0 h 1121963"/>
              <a:gd name="connsiteX2" fmla="*/ 384273 w 384273"/>
              <a:gd name="connsiteY2" fmla="*/ 1121963 h 112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4273" h="1121963">
                <a:moveTo>
                  <a:pt x="0" y="0"/>
                </a:moveTo>
                <a:lnTo>
                  <a:pt x="384273" y="0"/>
                </a:lnTo>
                <a:lnTo>
                  <a:pt x="384273" y="1121963"/>
                </a:lnTo>
              </a:path>
            </a:pathLst>
          </a:custGeom>
          <a:noFill/>
          <a:ln w="25400" cap="flat" cmpd="sng" algn="ctr">
            <a:solidFill>
              <a:srgbClr val="C00000"/>
            </a:solidFill>
            <a:prstDash val="solid"/>
            <a:headEnd type="triangle"/>
            <a:tailEnd type="none"/>
          </a:ln>
          <a:effectLst/>
        </p:spPr>
        <p:txBody>
          <a:bodyPr rtlCol="0" anchor="ctr"/>
          <a:lstStyle/>
          <a:p>
            <a:pPr algn="ctr" defTabSz="913943">
              <a:defRPr/>
            </a:pPr>
            <a:endParaRPr lang="en-US" sz="3198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cxnSp>
        <p:nvCxnSpPr>
          <p:cNvPr id="969" name="Gerader Verbinder 968">
            <a:extLst>
              <a:ext uri="{FF2B5EF4-FFF2-40B4-BE49-F238E27FC236}">
                <a16:creationId xmlns:a16="http://schemas.microsoft.com/office/drawing/2014/main" id="{8E1F6CED-26C0-C558-8E2F-E89327BC6E7F}"/>
              </a:ext>
            </a:extLst>
          </p:cNvPr>
          <p:cNvCxnSpPr>
            <a:cxnSpLocks/>
          </p:cNvCxnSpPr>
          <p:nvPr/>
        </p:nvCxnSpPr>
        <p:spPr>
          <a:xfrm flipV="1">
            <a:off x="3863050" y="2867527"/>
            <a:ext cx="0" cy="783453"/>
          </a:xfrm>
          <a:prstGeom prst="line">
            <a:avLst/>
          </a:prstGeom>
          <a:ln w="63500" cmpd="dbl">
            <a:solidFill>
              <a:srgbClr val="1E1F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73" name="Gruppieren 972">
            <a:extLst>
              <a:ext uri="{FF2B5EF4-FFF2-40B4-BE49-F238E27FC236}">
                <a16:creationId xmlns:a16="http://schemas.microsoft.com/office/drawing/2014/main" id="{E7AC7F76-320B-4F81-0249-5CC6E555D410}"/>
              </a:ext>
            </a:extLst>
          </p:cNvPr>
          <p:cNvGrpSpPr/>
          <p:nvPr/>
        </p:nvGrpSpPr>
        <p:grpSpPr>
          <a:xfrm rot="5400000">
            <a:off x="3699038" y="2607974"/>
            <a:ext cx="328026" cy="321074"/>
            <a:chOff x="6189775" y="2773285"/>
            <a:chExt cx="166306" cy="162781"/>
          </a:xfrm>
        </p:grpSpPr>
        <p:sp>
          <p:nvSpPr>
            <p:cNvPr id="974" name="Freihandform: Form 973">
              <a:extLst>
                <a:ext uri="{FF2B5EF4-FFF2-40B4-BE49-F238E27FC236}">
                  <a16:creationId xmlns:a16="http://schemas.microsoft.com/office/drawing/2014/main" id="{D01DB3CE-33B6-B8FA-28D3-2F7F15723E1A}"/>
                </a:ext>
              </a:extLst>
            </p:cNvPr>
            <p:cNvSpPr/>
            <p:nvPr/>
          </p:nvSpPr>
          <p:spPr>
            <a:xfrm>
              <a:off x="6189775" y="2773380"/>
              <a:ext cx="166306" cy="162686"/>
            </a:xfrm>
            <a:custGeom>
              <a:avLst/>
              <a:gdLst>
                <a:gd name="connsiteX0" fmla="*/ 166306 w 166306"/>
                <a:gd name="connsiteY0" fmla="*/ 81344 h 162686"/>
                <a:gd name="connsiteX1" fmla="*/ 83153 w 166306"/>
                <a:gd name="connsiteY1" fmla="*/ 162687 h 162686"/>
                <a:gd name="connsiteX2" fmla="*/ 0 w 166306"/>
                <a:gd name="connsiteY2" fmla="*/ 81344 h 162686"/>
                <a:gd name="connsiteX3" fmla="*/ 83153 w 166306"/>
                <a:gd name="connsiteY3" fmla="*/ 0 h 162686"/>
                <a:gd name="connsiteX4" fmla="*/ 166306 w 166306"/>
                <a:gd name="connsiteY4" fmla="*/ 81344 h 16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306" h="162686">
                  <a:moveTo>
                    <a:pt x="166306" y="81344"/>
                  </a:moveTo>
                  <a:cubicBezTo>
                    <a:pt x="166306" y="126268"/>
                    <a:pt x="129077" y="162687"/>
                    <a:pt x="83153" y="162687"/>
                  </a:cubicBezTo>
                  <a:cubicBezTo>
                    <a:pt x="37229" y="162687"/>
                    <a:pt x="0" y="126268"/>
                    <a:pt x="0" y="81344"/>
                  </a:cubicBezTo>
                  <a:cubicBezTo>
                    <a:pt x="0" y="36419"/>
                    <a:pt x="37229" y="0"/>
                    <a:pt x="83153" y="0"/>
                  </a:cubicBezTo>
                  <a:cubicBezTo>
                    <a:pt x="129077" y="0"/>
                    <a:pt x="166306" y="36419"/>
                    <a:pt x="166306" y="813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75" name="Freihandform: Form 974">
              <a:extLst>
                <a:ext uri="{FF2B5EF4-FFF2-40B4-BE49-F238E27FC236}">
                  <a16:creationId xmlns:a16="http://schemas.microsoft.com/office/drawing/2014/main" id="{3C4C35CB-C950-5600-2279-CBBA137567FA}"/>
                </a:ext>
              </a:extLst>
            </p:cNvPr>
            <p:cNvSpPr/>
            <p:nvPr/>
          </p:nvSpPr>
          <p:spPr>
            <a:xfrm>
              <a:off x="6295026" y="2789763"/>
              <a:ext cx="46291" cy="109823"/>
            </a:xfrm>
            <a:custGeom>
              <a:avLst/>
              <a:gdLst>
                <a:gd name="connsiteX0" fmla="*/ 29432 w 46291"/>
                <a:gd name="connsiteY0" fmla="*/ 109823 h 109823"/>
                <a:gd name="connsiteX1" fmla="*/ 46292 w 46291"/>
                <a:gd name="connsiteY1" fmla="*/ 64770 h 109823"/>
                <a:gd name="connsiteX2" fmla="*/ 0 w 46291"/>
                <a:gd name="connsiteY2" fmla="*/ 0 h 109823"/>
                <a:gd name="connsiteX3" fmla="*/ 29432 w 46291"/>
                <a:gd name="connsiteY3" fmla="*/ 109823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29432" y="109823"/>
                  </a:moveTo>
                  <a:cubicBezTo>
                    <a:pt x="39910" y="97822"/>
                    <a:pt x="46292" y="82010"/>
                    <a:pt x="46292" y="64770"/>
                  </a:cubicBezTo>
                  <a:cubicBezTo>
                    <a:pt x="46292" y="34671"/>
                    <a:pt x="26956" y="9144"/>
                    <a:pt x="0" y="0"/>
                  </a:cubicBezTo>
                  <a:lnTo>
                    <a:pt x="29432" y="10982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76" name="Freihandform: Form 975">
              <a:extLst>
                <a:ext uri="{FF2B5EF4-FFF2-40B4-BE49-F238E27FC236}">
                  <a16:creationId xmlns:a16="http://schemas.microsoft.com/office/drawing/2014/main" id="{20E19F97-E463-9826-48EB-12A95383EF4C}"/>
                </a:ext>
              </a:extLst>
            </p:cNvPr>
            <p:cNvSpPr/>
            <p:nvPr/>
          </p:nvSpPr>
          <p:spPr>
            <a:xfrm>
              <a:off x="6204443" y="2789763"/>
              <a:ext cx="46291" cy="109823"/>
            </a:xfrm>
            <a:custGeom>
              <a:avLst/>
              <a:gdLst>
                <a:gd name="connsiteX0" fmla="*/ 46292 w 46291"/>
                <a:gd name="connsiteY0" fmla="*/ 0 h 109823"/>
                <a:gd name="connsiteX1" fmla="*/ 0 w 46291"/>
                <a:gd name="connsiteY1" fmla="*/ 64770 h 109823"/>
                <a:gd name="connsiteX2" fmla="*/ 16859 w 46291"/>
                <a:gd name="connsiteY2" fmla="*/ 109823 h 109823"/>
                <a:gd name="connsiteX3" fmla="*/ 46292 w 46291"/>
                <a:gd name="connsiteY3" fmla="*/ 0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46292" y="0"/>
                  </a:moveTo>
                  <a:cubicBezTo>
                    <a:pt x="19336" y="9239"/>
                    <a:pt x="0" y="34766"/>
                    <a:pt x="0" y="64770"/>
                  </a:cubicBezTo>
                  <a:cubicBezTo>
                    <a:pt x="0" y="82010"/>
                    <a:pt x="6382" y="97726"/>
                    <a:pt x="16859" y="109823"/>
                  </a:cubicBezTo>
                  <a:lnTo>
                    <a:pt x="46292" y="0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77" name="Freihandform: Form 976">
              <a:extLst>
                <a:ext uri="{FF2B5EF4-FFF2-40B4-BE49-F238E27FC236}">
                  <a16:creationId xmlns:a16="http://schemas.microsoft.com/office/drawing/2014/main" id="{25F592C5-EA98-AA63-EAE2-159B6F90BFE7}"/>
                </a:ext>
              </a:extLst>
            </p:cNvPr>
            <p:cNvSpPr/>
            <p:nvPr/>
          </p:nvSpPr>
          <p:spPr>
            <a:xfrm>
              <a:off x="6227494" y="2786048"/>
              <a:ext cx="90868" cy="136969"/>
            </a:xfrm>
            <a:custGeom>
              <a:avLst/>
              <a:gdLst>
                <a:gd name="connsiteX0" fmla="*/ 59150 w 90868"/>
                <a:gd name="connsiteY0" fmla="*/ 1333 h 136969"/>
                <a:gd name="connsiteX1" fmla="*/ 45434 w 90868"/>
                <a:gd name="connsiteY1" fmla="*/ 0 h 136969"/>
                <a:gd name="connsiteX2" fmla="*/ 31718 w 90868"/>
                <a:gd name="connsiteY2" fmla="*/ 1333 h 136969"/>
                <a:gd name="connsiteX3" fmla="*/ 0 w 90868"/>
                <a:gd name="connsiteY3" fmla="*/ 119729 h 136969"/>
                <a:gd name="connsiteX4" fmla="*/ 45434 w 90868"/>
                <a:gd name="connsiteY4" fmla="*/ 136970 h 136969"/>
                <a:gd name="connsiteX5" fmla="*/ 90869 w 90868"/>
                <a:gd name="connsiteY5" fmla="*/ 119729 h 136969"/>
                <a:gd name="connsiteX6" fmla="*/ 59150 w 90868"/>
                <a:gd name="connsiteY6" fmla="*/ 1333 h 13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868" h="136969">
                  <a:moveTo>
                    <a:pt x="59150" y="1333"/>
                  </a:moveTo>
                  <a:cubicBezTo>
                    <a:pt x="54769" y="476"/>
                    <a:pt x="50197" y="0"/>
                    <a:pt x="45434" y="0"/>
                  </a:cubicBezTo>
                  <a:cubicBezTo>
                    <a:pt x="40672" y="0"/>
                    <a:pt x="36195" y="476"/>
                    <a:pt x="31718" y="1333"/>
                  </a:cubicBezTo>
                  <a:lnTo>
                    <a:pt x="0" y="119729"/>
                  </a:lnTo>
                  <a:cubicBezTo>
                    <a:pt x="12097" y="130397"/>
                    <a:pt x="28004" y="136970"/>
                    <a:pt x="45434" y="136970"/>
                  </a:cubicBezTo>
                  <a:cubicBezTo>
                    <a:pt x="62865" y="136970"/>
                    <a:pt x="78772" y="130492"/>
                    <a:pt x="90869" y="119729"/>
                  </a:cubicBezTo>
                  <a:lnTo>
                    <a:pt x="59150" y="133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78" name="Freihandform: Form 977">
              <a:extLst>
                <a:ext uri="{FF2B5EF4-FFF2-40B4-BE49-F238E27FC236}">
                  <a16:creationId xmlns:a16="http://schemas.microsoft.com/office/drawing/2014/main" id="{CCC4D3DF-F8B3-8F4B-DFFF-6DC8DC80A773}"/>
                </a:ext>
              </a:extLst>
            </p:cNvPr>
            <p:cNvSpPr/>
            <p:nvPr/>
          </p:nvSpPr>
          <p:spPr>
            <a:xfrm>
              <a:off x="6189775" y="2773285"/>
              <a:ext cx="166306" cy="162687"/>
            </a:xfrm>
            <a:custGeom>
              <a:avLst/>
              <a:gdLst>
                <a:gd name="connsiteX0" fmla="*/ 83153 w 166306"/>
                <a:gd name="connsiteY0" fmla="*/ 0 h 162687"/>
                <a:gd name="connsiteX1" fmla="*/ 166306 w 166306"/>
                <a:gd name="connsiteY1" fmla="*/ 81343 h 162687"/>
                <a:gd name="connsiteX2" fmla="*/ 83153 w 166306"/>
                <a:gd name="connsiteY2" fmla="*/ 162687 h 162687"/>
                <a:gd name="connsiteX3" fmla="*/ 0 w 166306"/>
                <a:gd name="connsiteY3" fmla="*/ 81343 h 162687"/>
                <a:gd name="connsiteX4" fmla="*/ 83153 w 166306"/>
                <a:gd name="connsiteY4" fmla="*/ 0 h 162687"/>
                <a:gd name="connsiteX5" fmla="*/ 83153 w 166306"/>
                <a:gd name="connsiteY5" fmla="*/ 0 h 162687"/>
                <a:gd name="connsiteX6" fmla="*/ 83153 w 166306"/>
                <a:gd name="connsiteY6" fmla="*/ 9334 h 162687"/>
                <a:gd name="connsiteX7" fmla="*/ 154686 w 166306"/>
                <a:gd name="connsiteY7" fmla="*/ 81439 h 162687"/>
                <a:gd name="connsiteX8" fmla="*/ 83153 w 166306"/>
                <a:gd name="connsiteY8" fmla="*/ 153543 h 162687"/>
                <a:gd name="connsiteX9" fmla="*/ 11621 w 166306"/>
                <a:gd name="connsiteY9" fmla="*/ 81439 h 162687"/>
                <a:gd name="connsiteX10" fmla="*/ 83153 w 166306"/>
                <a:gd name="connsiteY10" fmla="*/ 9334 h 162687"/>
                <a:gd name="connsiteX11" fmla="*/ 83153 w 166306"/>
                <a:gd name="connsiteY11" fmla="*/ 9334 h 16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306" h="162687">
                  <a:moveTo>
                    <a:pt x="83153" y="0"/>
                  </a:moveTo>
                  <a:cubicBezTo>
                    <a:pt x="129064" y="0"/>
                    <a:pt x="166306" y="36481"/>
                    <a:pt x="166306" y="81343"/>
                  </a:cubicBezTo>
                  <a:cubicBezTo>
                    <a:pt x="166306" y="126301"/>
                    <a:pt x="129064" y="162687"/>
                    <a:pt x="83153" y="162687"/>
                  </a:cubicBezTo>
                  <a:cubicBezTo>
                    <a:pt x="37243" y="162687"/>
                    <a:pt x="0" y="126206"/>
                    <a:pt x="0" y="81343"/>
                  </a:cubicBezTo>
                  <a:cubicBezTo>
                    <a:pt x="0" y="36481"/>
                    <a:pt x="37243" y="0"/>
                    <a:pt x="83153" y="0"/>
                  </a:cubicBezTo>
                  <a:lnTo>
                    <a:pt x="83153" y="0"/>
                  </a:lnTo>
                  <a:close/>
                  <a:moveTo>
                    <a:pt x="83153" y="9334"/>
                  </a:moveTo>
                  <a:cubicBezTo>
                    <a:pt x="122587" y="9334"/>
                    <a:pt x="154686" y="41624"/>
                    <a:pt x="154686" y="81439"/>
                  </a:cubicBezTo>
                  <a:cubicBezTo>
                    <a:pt x="154686" y="121253"/>
                    <a:pt x="122682" y="153543"/>
                    <a:pt x="83153" y="153543"/>
                  </a:cubicBezTo>
                  <a:cubicBezTo>
                    <a:pt x="43720" y="153543"/>
                    <a:pt x="11621" y="121253"/>
                    <a:pt x="11621" y="81439"/>
                  </a:cubicBezTo>
                  <a:cubicBezTo>
                    <a:pt x="11621" y="41624"/>
                    <a:pt x="43625" y="9334"/>
                    <a:pt x="83153" y="9334"/>
                  </a:cubicBezTo>
                  <a:lnTo>
                    <a:pt x="83153" y="9334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979" name="Grafik 1120">
            <a:extLst>
              <a:ext uri="{FF2B5EF4-FFF2-40B4-BE49-F238E27FC236}">
                <a16:creationId xmlns:a16="http://schemas.microsoft.com/office/drawing/2014/main" id="{6E392538-1D73-FD67-1EA3-0E44EEA3387E}"/>
              </a:ext>
            </a:extLst>
          </p:cNvPr>
          <p:cNvGrpSpPr/>
          <p:nvPr/>
        </p:nvGrpSpPr>
        <p:grpSpPr>
          <a:xfrm rot="16200000">
            <a:off x="3759439" y="3542782"/>
            <a:ext cx="207224" cy="202802"/>
            <a:chOff x="6852429" y="2770237"/>
            <a:chExt cx="165163" cy="161639"/>
          </a:xfrm>
          <a:solidFill>
            <a:srgbClr val="000000"/>
          </a:solidFill>
        </p:grpSpPr>
        <p:sp>
          <p:nvSpPr>
            <p:cNvPr id="980" name="Freihandform: Form 979">
              <a:extLst>
                <a:ext uri="{FF2B5EF4-FFF2-40B4-BE49-F238E27FC236}">
                  <a16:creationId xmlns:a16="http://schemas.microsoft.com/office/drawing/2014/main" id="{B61CCF83-C77B-C2B5-E22E-3E044F3E2B94}"/>
                </a:ext>
              </a:extLst>
            </p:cNvPr>
            <p:cNvSpPr/>
            <p:nvPr/>
          </p:nvSpPr>
          <p:spPr>
            <a:xfrm>
              <a:off x="6852429" y="2770332"/>
              <a:ext cx="165163" cy="161543"/>
            </a:xfrm>
            <a:custGeom>
              <a:avLst/>
              <a:gdLst>
                <a:gd name="connsiteX0" fmla="*/ 165164 w 165163"/>
                <a:gd name="connsiteY0" fmla="*/ 80772 h 161543"/>
                <a:gd name="connsiteX1" fmla="*/ 82582 w 165163"/>
                <a:gd name="connsiteY1" fmla="*/ 161544 h 161543"/>
                <a:gd name="connsiteX2" fmla="*/ 0 w 165163"/>
                <a:gd name="connsiteY2" fmla="*/ 80772 h 161543"/>
                <a:gd name="connsiteX3" fmla="*/ 82582 w 165163"/>
                <a:gd name="connsiteY3" fmla="*/ 0 h 161543"/>
                <a:gd name="connsiteX4" fmla="*/ 165164 w 165163"/>
                <a:gd name="connsiteY4" fmla="*/ 80772 h 161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163" h="161543">
                  <a:moveTo>
                    <a:pt x="165164" y="80772"/>
                  </a:moveTo>
                  <a:cubicBezTo>
                    <a:pt x="165164" y="125381"/>
                    <a:pt x="128191" y="161544"/>
                    <a:pt x="82582" y="161544"/>
                  </a:cubicBezTo>
                  <a:cubicBezTo>
                    <a:pt x="36973" y="161544"/>
                    <a:pt x="0" y="125381"/>
                    <a:pt x="0" y="80772"/>
                  </a:cubicBezTo>
                  <a:cubicBezTo>
                    <a:pt x="0" y="36163"/>
                    <a:pt x="36973" y="0"/>
                    <a:pt x="82582" y="0"/>
                  </a:cubicBezTo>
                  <a:cubicBezTo>
                    <a:pt x="128190" y="0"/>
                    <a:pt x="165164" y="36163"/>
                    <a:pt x="165164" y="8077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grpSp>
          <p:nvGrpSpPr>
            <p:cNvPr id="981" name="Grafik 1120">
              <a:extLst>
                <a:ext uri="{FF2B5EF4-FFF2-40B4-BE49-F238E27FC236}">
                  <a16:creationId xmlns:a16="http://schemas.microsoft.com/office/drawing/2014/main" id="{397A1104-C6B0-3E93-5D58-B1F01B1B1B8F}"/>
                </a:ext>
              </a:extLst>
            </p:cNvPr>
            <p:cNvGrpSpPr/>
            <p:nvPr/>
          </p:nvGrpSpPr>
          <p:grpSpPr>
            <a:xfrm>
              <a:off x="6852429" y="2770237"/>
              <a:ext cx="165163" cy="161544"/>
              <a:chOff x="6852429" y="2770237"/>
              <a:chExt cx="165163" cy="161544"/>
            </a:xfrm>
            <a:solidFill>
              <a:srgbClr val="5A616B"/>
            </a:solidFill>
          </p:grpSpPr>
          <p:sp>
            <p:nvSpPr>
              <p:cNvPr id="982" name="Freihandform: Form 981">
                <a:extLst>
                  <a:ext uri="{FF2B5EF4-FFF2-40B4-BE49-F238E27FC236}">
                    <a16:creationId xmlns:a16="http://schemas.microsoft.com/office/drawing/2014/main" id="{A001BAD4-A5F8-0804-1991-7BFB1F618D5E}"/>
                  </a:ext>
                </a:extLst>
              </p:cNvPr>
              <p:cNvSpPr/>
              <p:nvPr/>
            </p:nvSpPr>
            <p:spPr>
              <a:xfrm>
                <a:off x="6852429" y="2770237"/>
                <a:ext cx="165163" cy="161544"/>
              </a:xfrm>
              <a:custGeom>
                <a:avLst/>
                <a:gdLst>
                  <a:gd name="connsiteX0" fmla="*/ 82582 w 165163"/>
                  <a:gd name="connsiteY0" fmla="*/ 0 h 161544"/>
                  <a:gd name="connsiteX1" fmla="*/ 165163 w 165163"/>
                  <a:gd name="connsiteY1" fmla="*/ 80772 h 161544"/>
                  <a:gd name="connsiteX2" fmla="*/ 82582 w 165163"/>
                  <a:gd name="connsiteY2" fmla="*/ 161544 h 161544"/>
                  <a:gd name="connsiteX3" fmla="*/ 0 w 165163"/>
                  <a:gd name="connsiteY3" fmla="*/ 80772 h 161544"/>
                  <a:gd name="connsiteX4" fmla="*/ 82582 w 165163"/>
                  <a:gd name="connsiteY4" fmla="*/ 0 h 161544"/>
                  <a:gd name="connsiteX5" fmla="*/ 82582 w 165163"/>
                  <a:gd name="connsiteY5" fmla="*/ 0 h 161544"/>
                  <a:gd name="connsiteX6" fmla="*/ 82582 w 165163"/>
                  <a:gd name="connsiteY6" fmla="*/ 9239 h 161544"/>
                  <a:gd name="connsiteX7" fmla="*/ 153638 w 165163"/>
                  <a:gd name="connsiteY7" fmla="*/ 80772 h 161544"/>
                  <a:gd name="connsiteX8" fmla="*/ 82582 w 165163"/>
                  <a:gd name="connsiteY8" fmla="*/ 152305 h 161544"/>
                  <a:gd name="connsiteX9" fmla="*/ 11525 w 165163"/>
                  <a:gd name="connsiteY9" fmla="*/ 80772 h 161544"/>
                  <a:gd name="connsiteX10" fmla="*/ 82582 w 165163"/>
                  <a:gd name="connsiteY10" fmla="*/ 9239 h 161544"/>
                  <a:gd name="connsiteX11" fmla="*/ 82582 w 165163"/>
                  <a:gd name="connsiteY11" fmla="*/ 9239 h 16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163" h="161544">
                    <a:moveTo>
                      <a:pt x="82582" y="0"/>
                    </a:moveTo>
                    <a:cubicBezTo>
                      <a:pt x="128206" y="0"/>
                      <a:pt x="165163" y="36195"/>
                      <a:pt x="165163" y="80772"/>
                    </a:cubicBezTo>
                    <a:cubicBezTo>
                      <a:pt x="165163" y="125349"/>
                      <a:pt x="128111" y="161544"/>
                      <a:pt x="82582" y="161544"/>
                    </a:cubicBezTo>
                    <a:cubicBezTo>
                      <a:pt x="36957" y="161544"/>
                      <a:pt x="0" y="125349"/>
                      <a:pt x="0" y="80772"/>
                    </a:cubicBezTo>
                    <a:cubicBezTo>
                      <a:pt x="0" y="36290"/>
                      <a:pt x="36957" y="0"/>
                      <a:pt x="82582" y="0"/>
                    </a:cubicBezTo>
                    <a:lnTo>
                      <a:pt x="82582" y="0"/>
                    </a:lnTo>
                    <a:close/>
                    <a:moveTo>
                      <a:pt x="82582" y="9239"/>
                    </a:moveTo>
                    <a:cubicBezTo>
                      <a:pt x="121825" y="9239"/>
                      <a:pt x="153638" y="41338"/>
                      <a:pt x="153638" y="80772"/>
                    </a:cubicBezTo>
                    <a:cubicBezTo>
                      <a:pt x="153638" y="120301"/>
                      <a:pt x="121825" y="152305"/>
                      <a:pt x="82582" y="152305"/>
                    </a:cubicBezTo>
                    <a:cubicBezTo>
                      <a:pt x="43339" y="152305"/>
                      <a:pt x="11525" y="120206"/>
                      <a:pt x="11525" y="80772"/>
                    </a:cubicBezTo>
                    <a:cubicBezTo>
                      <a:pt x="11525" y="41338"/>
                      <a:pt x="43339" y="9239"/>
                      <a:pt x="82582" y="9239"/>
                    </a:cubicBezTo>
                    <a:lnTo>
                      <a:pt x="82582" y="9239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943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3198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  <p:sp>
            <p:nvSpPr>
              <p:cNvPr id="983" name="Freihandform: Form 982">
                <a:extLst>
                  <a:ext uri="{FF2B5EF4-FFF2-40B4-BE49-F238E27FC236}">
                    <a16:creationId xmlns:a16="http://schemas.microsoft.com/office/drawing/2014/main" id="{05C8ED39-1403-DC3A-1C61-D5EF694EEB9E}"/>
                  </a:ext>
                </a:extLst>
              </p:cNvPr>
              <p:cNvSpPr/>
              <p:nvPr/>
            </p:nvSpPr>
            <p:spPr>
              <a:xfrm>
                <a:off x="6867003" y="2782905"/>
                <a:ext cx="136016" cy="136016"/>
              </a:xfrm>
              <a:custGeom>
                <a:avLst/>
                <a:gdLst>
                  <a:gd name="connsiteX0" fmla="*/ 68008 w 136016"/>
                  <a:gd name="connsiteY0" fmla="*/ 0 h 136016"/>
                  <a:gd name="connsiteX1" fmla="*/ 0 w 136016"/>
                  <a:gd name="connsiteY1" fmla="*/ 68008 h 136016"/>
                  <a:gd name="connsiteX2" fmla="*/ 68008 w 136016"/>
                  <a:gd name="connsiteY2" fmla="*/ 136017 h 136016"/>
                  <a:gd name="connsiteX3" fmla="*/ 136017 w 136016"/>
                  <a:gd name="connsiteY3" fmla="*/ 68008 h 136016"/>
                  <a:gd name="connsiteX4" fmla="*/ 68008 w 136016"/>
                  <a:gd name="connsiteY4" fmla="*/ 0 h 136016"/>
                  <a:gd name="connsiteX5" fmla="*/ 89059 w 136016"/>
                  <a:gd name="connsiteY5" fmla="*/ 100013 h 136016"/>
                  <a:gd name="connsiteX6" fmla="*/ 88106 w 136016"/>
                  <a:gd name="connsiteY6" fmla="*/ 75724 h 136016"/>
                  <a:gd name="connsiteX7" fmla="*/ 87535 w 136016"/>
                  <a:gd name="connsiteY7" fmla="*/ 49625 h 136016"/>
                  <a:gd name="connsiteX8" fmla="*/ 87249 w 136016"/>
                  <a:gd name="connsiteY8" fmla="*/ 49625 h 136016"/>
                  <a:gd name="connsiteX9" fmla="*/ 80200 w 136016"/>
                  <a:gd name="connsiteY9" fmla="*/ 74200 h 136016"/>
                  <a:gd name="connsiteX10" fmla="*/ 72485 w 136016"/>
                  <a:gd name="connsiteY10" fmla="*/ 98965 h 136016"/>
                  <a:gd name="connsiteX11" fmla="*/ 61246 w 136016"/>
                  <a:gd name="connsiteY11" fmla="*/ 98965 h 136016"/>
                  <a:gd name="connsiteX12" fmla="*/ 54483 w 136016"/>
                  <a:gd name="connsiteY12" fmla="*/ 74390 h 136016"/>
                  <a:gd name="connsiteX13" fmla="*/ 48768 w 136016"/>
                  <a:gd name="connsiteY13" fmla="*/ 49625 h 136016"/>
                  <a:gd name="connsiteX14" fmla="*/ 48578 w 136016"/>
                  <a:gd name="connsiteY14" fmla="*/ 49625 h 136016"/>
                  <a:gd name="connsiteX15" fmla="*/ 47434 w 136016"/>
                  <a:gd name="connsiteY15" fmla="*/ 75914 h 136016"/>
                  <a:gd name="connsiteX16" fmla="*/ 46291 w 136016"/>
                  <a:gd name="connsiteY16" fmla="*/ 100108 h 136016"/>
                  <a:gd name="connsiteX17" fmla="*/ 32956 w 136016"/>
                  <a:gd name="connsiteY17" fmla="*/ 100108 h 136016"/>
                  <a:gd name="connsiteX18" fmla="*/ 37052 w 136016"/>
                  <a:gd name="connsiteY18" fmla="*/ 36481 h 136016"/>
                  <a:gd name="connsiteX19" fmla="*/ 56197 w 136016"/>
                  <a:gd name="connsiteY19" fmla="*/ 36481 h 136016"/>
                  <a:gd name="connsiteX20" fmla="*/ 62389 w 136016"/>
                  <a:gd name="connsiteY20" fmla="*/ 57721 h 136016"/>
                  <a:gd name="connsiteX21" fmla="*/ 67723 w 136016"/>
                  <a:gd name="connsiteY21" fmla="*/ 80486 h 136016"/>
                  <a:gd name="connsiteX22" fmla="*/ 68008 w 136016"/>
                  <a:gd name="connsiteY22" fmla="*/ 80486 h 136016"/>
                  <a:gd name="connsiteX23" fmla="*/ 74009 w 136016"/>
                  <a:gd name="connsiteY23" fmla="*/ 57626 h 136016"/>
                  <a:gd name="connsiteX24" fmla="*/ 80772 w 136016"/>
                  <a:gd name="connsiteY24" fmla="*/ 36481 h 136016"/>
                  <a:gd name="connsiteX25" fmla="*/ 99536 w 136016"/>
                  <a:gd name="connsiteY25" fmla="*/ 36481 h 136016"/>
                  <a:gd name="connsiteX26" fmla="*/ 103061 w 136016"/>
                  <a:gd name="connsiteY26" fmla="*/ 100108 h 136016"/>
                  <a:gd name="connsiteX27" fmla="*/ 89059 w 136016"/>
                  <a:gd name="connsiteY27" fmla="*/ 100108 h 13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16" h="136016">
                    <a:moveTo>
                      <a:pt x="68008" y="0"/>
                    </a:moveTo>
                    <a:cubicBezTo>
                      <a:pt x="30480" y="0"/>
                      <a:pt x="0" y="30480"/>
                      <a:pt x="0" y="68008"/>
                    </a:cubicBezTo>
                    <a:cubicBezTo>
                      <a:pt x="0" y="105537"/>
                      <a:pt x="30480" y="136017"/>
                      <a:pt x="68008" y="136017"/>
                    </a:cubicBezTo>
                    <a:cubicBezTo>
                      <a:pt x="105537" y="136017"/>
                      <a:pt x="136017" y="105537"/>
                      <a:pt x="136017" y="68008"/>
                    </a:cubicBezTo>
                    <a:cubicBezTo>
                      <a:pt x="136017" y="30480"/>
                      <a:pt x="105537" y="0"/>
                      <a:pt x="68008" y="0"/>
                    </a:cubicBezTo>
                    <a:close/>
                    <a:moveTo>
                      <a:pt x="89059" y="100013"/>
                    </a:moveTo>
                    <a:lnTo>
                      <a:pt x="88106" y="75724"/>
                    </a:lnTo>
                    <a:cubicBezTo>
                      <a:pt x="87821" y="68104"/>
                      <a:pt x="87535" y="58865"/>
                      <a:pt x="87535" y="49625"/>
                    </a:cubicBezTo>
                    <a:lnTo>
                      <a:pt x="87249" y="49625"/>
                    </a:lnTo>
                    <a:cubicBezTo>
                      <a:pt x="85249" y="57721"/>
                      <a:pt x="82677" y="66770"/>
                      <a:pt x="80200" y="74200"/>
                    </a:cubicBezTo>
                    <a:lnTo>
                      <a:pt x="72485" y="98965"/>
                    </a:lnTo>
                    <a:lnTo>
                      <a:pt x="61246" y="98965"/>
                    </a:lnTo>
                    <a:lnTo>
                      <a:pt x="54483" y="74390"/>
                    </a:lnTo>
                    <a:cubicBezTo>
                      <a:pt x="52388" y="66961"/>
                      <a:pt x="50197" y="57912"/>
                      <a:pt x="48768" y="49625"/>
                    </a:cubicBezTo>
                    <a:lnTo>
                      <a:pt x="48578" y="49625"/>
                    </a:lnTo>
                    <a:cubicBezTo>
                      <a:pt x="48196" y="58198"/>
                      <a:pt x="47911" y="68008"/>
                      <a:pt x="47434" y="75914"/>
                    </a:cubicBezTo>
                    <a:lnTo>
                      <a:pt x="46291" y="100108"/>
                    </a:lnTo>
                    <a:lnTo>
                      <a:pt x="32956" y="100108"/>
                    </a:lnTo>
                    <a:lnTo>
                      <a:pt x="37052" y="36481"/>
                    </a:lnTo>
                    <a:lnTo>
                      <a:pt x="56197" y="36481"/>
                    </a:lnTo>
                    <a:lnTo>
                      <a:pt x="62389" y="57721"/>
                    </a:lnTo>
                    <a:cubicBezTo>
                      <a:pt x="64389" y="65056"/>
                      <a:pt x="66389" y="72962"/>
                      <a:pt x="67723" y="80486"/>
                    </a:cubicBezTo>
                    <a:lnTo>
                      <a:pt x="68008" y="80486"/>
                    </a:lnTo>
                    <a:cubicBezTo>
                      <a:pt x="69818" y="73152"/>
                      <a:pt x="72009" y="64770"/>
                      <a:pt x="74009" y="57626"/>
                    </a:cubicBezTo>
                    <a:lnTo>
                      <a:pt x="80772" y="36481"/>
                    </a:lnTo>
                    <a:lnTo>
                      <a:pt x="99536" y="36481"/>
                    </a:lnTo>
                    <a:lnTo>
                      <a:pt x="103061" y="100108"/>
                    </a:lnTo>
                    <a:lnTo>
                      <a:pt x="89059" y="100108"/>
                    </a:lnTo>
                    <a:close/>
                  </a:path>
                </a:pathLst>
              </a:custGeom>
              <a:solidFill>
                <a:srgbClr val="5A616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3943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3198">
                  <a:solidFill>
                    <a:srgbClr val="D7E4EE"/>
                  </a:solidFill>
                  <a:latin typeface="Siemens Sans" pitchFamily="2" charset="0"/>
                  <a:ea typeface="ＭＳ Ｐゴシック" charset="-128"/>
                </a:endParaRPr>
              </a:p>
            </p:txBody>
          </p:sp>
        </p:grpSp>
      </p:grpSp>
      <p:grpSp>
        <p:nvGrpSpPr>
          <p:cNvPr id="1214" name="Gruppieren 1213">
            <a:extLst>
              <a:ext uri="{FF2B5EF4-FFF2-40B4-BE49-F238E27FC236}">
                <a16:creationId xmlns:a16="http://schemas.microsoft.com/office/drawing/2014/main" id="{04AC9CA8-F5FC-2F2F-AFAF-5B83ED1952DA}"/>
              </a:ext>
            </a:extLst>
          </p:cNvPr>
          <p:cNvGrpSpPr/>
          <p:nvPr/>
        </p:nvGrpSpPr>
        <p:grpSpPr>
          <a:xfrm>
            <a:off x="3021053" y="2519527"/>
            <a:ext cx="425354" cy="348163"/>
            <a:chOff x="3021053" y="2188086"/>
            <a:chExt cx="425354" cy="348163"/>
          </a:xfrm>
        </p:grpSpPr>
        <p:sp>
          <p:nvSpPr>
            <p:cNvPr id="986" name="Rechteck 985">
              <a:extLst>
                <a:ext uri="{FF2B5EF4-FFF2-40B4-BE49-F238E27FC236}">
                  <a16:creationId xmlns:a16="http://schemas.microsoft.com/office/drawing/2014/main" id="{D34F3FA8-920C-468A-829C-0420A47878B7}"/>
                </a:ext>
              </a:extLst>
            </p:cNvPr>
            <p:cNvSpPr/>
            <p:nvPr/>
          </p:nvSpPr>
          <p:spPr>
            <a:xfrm>
              <a:off x="3021053" y="2337885"/>
              <a:ext cx="425354" cy="1983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1799">
                <a:solidFill>
                  <a:srgbClr val="1B1534"/>
                </a:solidFill>
                <a:latin typeface="Arial"/>
              </a:endParaRPr>
            </a:p>
          </p:txBody>
        </p:sp>
        <p:sp>
          <p:nvSpPr>
            <p:cNvPr id="987" name="Freihandform: Form 986">
              <a:extLst>
                <a:ext uri="{FF2B5EF4-FFF2-40B4-BE49-F238E27FC236}">
                  <a16:creationId xmlns:a16="http://schemas.microsoft.com/office/drawing/2014/main" id="{9C193891-E78F-B97D-9F66-6F9EC5C35662}"/>
                </a:ext>
              </a:extLst>
            </p:cNvPr>
            <p:cNvSpPr/>
            <p:nvPr/>
          </p:nvSpPr>
          <p:spPr bwMode="auto">
            <a:xfrm rot="10800000">
              <a:off x="3134662" y="2188086"/>
              <a:ext cx="166731" cy="244991"/>
            </a:xfrm>
            <a:custGeom>
              <a:avLst/>
              <a:gdLst>
                <a:gd name="connsiteX0" fmla="*/ 0 w 384273"/>
                <a:gd name="connsiteY0" fmla="*/ 0 h 1121963"/>
                <a:gd name="connsiteX1" fmla="*/ 384273 w 384273"/>
                <a:gd name="connsiteY1" fmla="*/ 0 h 1121963"/>
                <a:gd name="connsiteX2" fmla="*/ 384273 w 384273"/>
                <a:gd name="connsiteY2" fmla="*/ 1121963 h 112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4273" h="1121963">
                  <a:moveTo>
                    <a:pt x="0" y="0"/>
                  </a:moveTo>
                  <a:lnTo>
                    <a:pt x="384273" y="0"/>
                  </a:lnTo>
                  <a:lnTo>
                    <a:pt x="384273" y="1121963"/>
                  </a:lnTo>
                </a:path>
              </a:pathLst>
            </a:cu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913943">
                <a:defRPr/>
              </a:pPr>
              <a:endParaRPr lang="en-US" sz="31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cxnSp>
          <p:nvCxnSpPr>
            <p:cNvPr id="988" name="Gerader Verbinder 987">
              <a:extLst>
                <a:ext uri="{FF2B5EF4-FFF2-40B4-BE49-F238E27FC236}">
                  <a16:creationId xmlns:a16="http://schemas.microsoft.com/office/drawing/2014/main" id="{DF7A4042-E70F-D909-4CF9-A0967E2DDB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40010" y="2390782"/>
              <a:ext cx="42295" cy="42295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  <p:cxnSp>
          <p:nvCxnSpPr>
            <p:cNvPr id="989" name="Gerader Verbinder 988">
              <a:extLst>
                <a:ext uri="{FF2B5EF4-FFF2-40B4-BE49-F238E27FC236}">
                  <a16:creationId xmlns:a16="http://schemas.microsoft.com/office/drawing/2014/main" id="{DC3F0A84-13F6-20DB-BEE9-2737F17305EF}"/>
                </a:ext>
              </a:extLst>
            </p:cNvPr>
            <p:cNvCxnSpPr/>
            <p:nvPr/>
          </p:nvCxnSpPr>
          <p:spPr>
            <a:xfrm>
              <a:off x="3240010" y="2433077"/>
              <a:ext cx="42295" cy="42295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</p:grpSp>
      <p:grpSp>
        <p:nvGrpSpPr>
          <p:cNvPr id="995" name="Gruppieren 994">
            <a:extLst>
              <a:ext uri="{FF2B5EF4-FFF2-40B4-BE49-F238E27FC236}">
                <a16:creationId xmlns:a16="http://schemas.microsoft.com/office/drawing/2014/main" id="{E787E107-0260-6D13-6A88-4CEA8F9F3B69}"/>
              </a:ext>
            </a:extLst>
          </p:cNvPr>
          <p:cNvGrpSpPr/>
          <p:nvPr/>
        </p:nvGrpSpPr>
        <p:grpSpPr>
          <a:xfrm rot="5400000">
            <a:off x="3699038" y="3106467"/>
            <a:ext cx="328026" cy="321074"/>
            <a:chOff x="6189775" y="2773285"/>
            <a:chExt cx="166306" cy="162781"/>
          </a:xfrm>
        </p:grpSpPr>
        <p:sp>
          <p:nvSpPr>
            <p:cNvPr id="996" name="Freihandform: Form 995">
              <a:extLst>
                <a:ext uri="{FF2B5EF4-FFF2-40B4-BE49-F238E27FC236}">
                  <a16:creationId xmlns:a16="http://schemas.microsoft.com/office/drawing/2014/main" id="{3DB5EDF3-F3F1-1A95-2BD7-DAEF773826D7}"/>
                </a:ext>
              </a:extLst>
            </p:cNvPr>
            <p:cNvSpPr/>
            <p:nvPr/>
          </p:nvSpPr>
          <p:spPr>
            <a:xfrm>
              <a:off x="6189775" y="2773380"/>
              <a:ext cx="166306" cy="162686"/>
            </a:xfrm>
            <a:custGeom>
              <a:avLst/>
              <a:gdLst>
                <a:gd name="connsiteX0" fmla="*/ 166306 w 166306"/>
                <a:gd name="connsiteY0" fmla="*/ 81344 h 162686"/>
                <a:gd name="connsiteX1" fmla="*/ 83153 w 166306"/>
                <a:gd name="connsiteY1" fmla="*/ 162687 h 162686"/>
                <a:gd name="connsiteX2" fmla="*/ 0 w 166306"/>
                <a:gd name="connsiteY2" fmla="*/ 81344 h 162686"/>
                <a:gd name="connsiteX3" fmla="*/ 83153 w 166306"/>
                <a:gd name="connsiteY3" fmla="*/ 0 h 162686"/>
                <a:gd name="connsiteX4" fmla="*/ 166306 w 166306"/>
                <a:gd name="connsiteY4" fmla="*/ 81344 h 16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306" h="162686">
                  <a:moveTo>
                    <a:pt x="166306" y="81344"/>
                  </a:moveTo>
                  <a:cubicBezTo>
                    <a:pt x="166306" y="126268"/>
                    <a:pt x="129077" y="162687"/>
                    <a:pt x="83153" y="162687"/>
                  </a:cubicBezTo>
                  <a:cubicBezTo>
                    <a:pt x="37229" y="162687"/>
                    <a:pt x="0" y="126268"/>
                    <a:pt x="0" y="81344"/>
                  </a:cubicBezTo>
                  <a:cubicBezTo>
                    <a:pt x="0" y="36419"/>
                    <a:pt x="37229" y="0"/>
                    <a:pt x="83153" y="0"/>
                  </a:cubicBezTo>
                  <a:cubicBezTo>
                    <a:pt x="129077" y="0"/>
                    <a:pt x="166306" y="36419"/>
                    <a:pt x="166306" y="813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7" name="Freihandform: Form 996">
              <a:extLst>
                <a:ext uri="{FF2B5EF4-FFF2-40B4-BE49-F238E27FC236}">
                  <a16:creationId xmlns:a16="http://schemas.microsoft.com/office/drawing/2014/main" id="{BA8F9D91-1757-A42B-4541-11835DE1BAB2}"/>
                </a:ext>
              </a:extLst>
            </p:cNvPr>
            <p:cNvSpPr/>
            <p:nvPr/>
          </p:nvSpPr>
          <p:spPr>
            <a:xfrm>
              <a:off x="6295026" y="2789763"/>
              <a:ext cx="46291" cy="109823"/>
            </a:xfrm>
            <a:custGeom>
              <a:avLst/>
              <a:gdLst>
                <a:gd name="connsiteX0" fmla="*/ 29432 w 46291"/>
                <a:gd name="connsiteY0" fmla="*/ 109823 h 109823"/>
                <a:gd name="connsiteX1" fmla="*/ 46292 w 46291"/>
                <a:gd name="connsiteY1" fmla="*/ 64770 h 109823"/>
                <a:gd name="connsiteX2" fmla="*/ 0 w 46291"/>
                <a:gd name="connsiteY2" fmla="*/ 0 h 109823"/>
                <a:gd name="connsiteX3" fmla="*/ 29432 w 46291"/>
                <a:gd name="connsiteY3" fmla="*/ 109823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29432" y="109823"/>
                  </a:moveTo>
                  <a:cubicBezTo>
                    <a:pt x="39910" y="97822"/>
                    <a:pt x="46292" y="82010"/>
                    <a:pt x="46292" y="64770"/>
                  </a:cubicBezTo>
                  <a:cubicBezTo>
                    <a:pt x="46292" y="34671"/>
                    <a:pt x="26956" y="9144"/>
                    <a:pt x="0" y="0"/>
                  </a:cubicBezTo>
                  <a:lnTo>
                    <a:pt x="29432" y="10982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8" name="Freihandform: Form 997">
              <a:extLst>
                <a:ext uri="{FF2B5EF4-FFF2-40B4-BE49-F238E27FC236}">
                  <a16:creationId xmlns:a16="http://schemas.microsoft.com/office/drawing/2014/main" id="{9CAF6A1A-B451-9092-77F5-D7B501207DFF}"/>
                </a:ext>
              </a:extLst>
            </p:cNvPr>
            <p:cNvSpPr/>
            <p:nvPr/>
          </p:nvSpPr>
          <p:spPr>
            <a:xfrm>
              <a:off x="6204443" y="2789763"/>
              <a:ext cx="46291" cy="109823"/>
            </a:xfrm>
            <a:custGeom>
              <a:avLst/>
              <a:gdLst>
                <a:gd name="connsiteX0" fmla="*/ 46292 w 46291"/>
                <a:gd name="connsiteY0" fmla="*/ 0 h 109823"/>
                <a:gd name="connsiteX1" fmla="*/ 0 w 46291"/>
                <a:gd name="connsiteY1" fmla="*/ 64770 h 109823"/>
                <a:gd name="connsiteX2" fmla="*/ 16859 w 46291"/>
                <a:gd name="connsiteY2" fmla="*/ 109823 h 109823"/>
                <a:gd name="connsiteX3" fmla="*/ 46292 w 46291"/>
                <a:gd name="connsiteY3" fmla="*/ 0 h 109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" h="109823">
                  <a:moveTo>
                    <a:pt x="46292" y="0"/>
                  </a:moveTo>
                  <a:cubicBezTo>
                    <a:pt x="19336" y="9239"/>
                    <a:pt x="0" y="34766"/>
                    <a:pt x="0" y="64770"/>
                  </a:cubicBezTo>
                  <a:cubicBezTo>
                    <a:pt x="0" y="82010"/>
                    <a:pt x="6382" y="97726"/>
                    <a:pt x="16859" y="109823"/>
                  </a:cubicBezTo>
                  <a:lnTo>
                    <a:pt x="46292" y="0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999" name="Freihandform: Form 998">
              <a:extLst>
                <a:ext uri="{FF2B5EF4-FFF2-40B4-BE49-F238E27FC236}">
                  <a16:creationId xmlns:a16="http://schemas.microsoft.com/office/drawing/2014/main" id="{D7EE2A72-2B3A-F054-448D-D87483FCF584}"/>
                </a:ext>
              </a:extLst>
            </p:cNvPr>
            <p:cNvSpPr/>
            <p:nvPr/>
          </p:nvSpPr>
          <p:spPr>
            <a:xfrm>
              <a:off x="6227494" y="2786048"/>
              <a:ext cx="90868" cy="136969"/>
            </a:xfrm>
            <a:custGeom>
              <a:avLst/>
              <a:gdLst>
                <a:gd name="connsiteX0" fmla="*/ 59150 w 90868"/>
                <a:gd name="connsiteY0" fmla="*/ 1333 h 136969"/>
                <a:gd name="connsiteX1" fmla="*/ 45434 w 90868"/>
                <a:gd name="connsiteY1" fmla="*/ 0 h 136969"/>
                <a:gd name="connsiteX2" fmla="*/ 31718 w 90868"/>
                <a:gd name="connsiteY2" fmla="*/ 1333 h 136969"/>
                <a:gd name="connsiteX3" fmla="*/ 0 w 90868"/>
                <a:gd name="connsiteY3" fmla="*/ 119729 h 136969"/>
                <a:gd name="connsiteX4" fmla="*/ 45434 w 90868"/>
                <a:gd name="connsiteY4" fmla="*/ 136970 h 136969"/>
                <a:gd name="connsiteX5" fmla="*/ 90869 w 90868"/>
                <a:gd name="connsiteY5" fmla="*/ 119729 h 136969"/>
                <a:gd name="connsiteX6" fmla="*/ 59150 w 90868"/>
                <a:gd name="connsiteY6" fmla="*/ 1333 h 13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868" h="136969">
                  <a:moveTo>
                    <a:pt x="59150" y="1333"/>
                  </a:moveTo>
                  <a:cubicBezTo>
                    <a:pt x="54769" y="476"/>
                    <a:pt x="50197" y="0"/>
                    <a:pt x="45434" y="0"/>
                  </a:cubicBezTo>
                  <a:cubicBezTo>
                    <a:pt x="40672" y="0"/>
                    <a:pt x="36195" y="476"/>
                    <a:pt x="31718" y="1333"/>
                  </a:cubicBezTo>
                  <a:lnTo>
                    <a:pt x="0" y="119729"/>
                  </a:lnTo>
                  <a:cubicBezTo>
                    <a:pt x="12097" y="130397"/>
                    <a:pt x="28004" y="136970"/>
                    <a:pt x="45434" y="136970"/>
                  </a:cubicBezTo>
                  <a:cubicBezTo>
                    <a:pt x="62865" y="136970"/>
                    <a:pt x="78772" y="130492"/>
                    <a:pt x="90869" y="119729"/>
                  </a:cubicBezTo>
                  <a:lnTo>
                    <a:pt x="59150" y="1333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000" name="Freihandform: Form 999">
              <a:extLst>
                <a:ext uri="{FF2B5EF4-FFF2-40B4-BE49-F238E27FC236}">
                  <a16:creationId xmlns:a16="http://schemas.microsoft.com/office/drawing/2014/main" id="{E578CCD2-A047-F94B-21C6-2F834B6A43AA}"/>
                </a:ext>
              </a:extLst>
            </p:cNvPr>
            <p:cNvSpPr/>
            <p:nvPr/>
          </p:nvSpPr>
          <p:spPr>
            <a:xfrm>
              <a:off x="6189775" y="2773285"/>
              <a:ext cx="166306" cy="162687"/>
            </a:xfrm>
            <a:custGeom>
              <a:avLst/>
              <a:gdLst>
                <a:gd name="connsiteX0" fmla="*/ 83153 w 166306"/>
                <a:gd name="connsiteY0" fmla="*/ 0 h 162687"/>
                <a:gd name="connsiteX1" fmla="*/ 166306 w 166306"/>
                <a:gd name="connsiteY1" fmla="*/ 81343 h 162687"/>
                <a:gd name="connsiteX2" fmla="*/ 83153 w 166306"/>
                <a:gd name="connsiteY2" fmla="*/ 162687 h 162687"/>
                <a:gd name="connsiteX3" fmla="*/ 0 w 166306"/>
                <a:gd name="connsiteY3" fmla="*/ 81343 h 162687"/>
                <a:gd name="connsiteX4" fmla="*/ 83153 w 166306"/>
                <a:gd name="connsiteY4" fmla="*/ 0 h 162687"/>
                <a:gd name="connsiteX5" fmla="*/ 83153 w 166306"/>
                <a:gd name="connsiteY5" fmla="*/ 0 h 162687"/>
                <a:gd name="connsiteX6" fmla="*/ 83153 w 166306"/>
                <a:gd name="connsiteY6" fmla="*/ 9334 h 162687"/>
                <a:gd name="connsiteX7" fmla="*/ 154686 w 166306"/>
                <a:gd name="connsiteY7" fmla="*/ 81439 h 162687"/>
                <a:gd name="connsiteX8" fmla="*/ 83153 w 166306"/>
                <a:gd name="connsiteY8" fmla="*/ 153543 h 162687"/>
                <a:gd name="connsiteX9" fmla="*/ 11621 w 166306"/>
                <a:gd name="connsiteY9" fmla="*/ 81439 h 162687"/>
                <a:gd name="connsiteX10" fmla="*/ 83153 w 166306"/>
                <a:gd name="connsiteY10" fmla="*/ 9334 h 162687"/>
                <a:gd name="connsiteX11" fmla="*/ 83153 w 166306"/>
                <a:gd name="connsiteY11" fmla="*/ 9334 h 162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306" h="162687">
                  <a:moveTo>
                    <a:pt x="83153" y="0"/>
                  </a:moveTo>
                  <a:cubicBezTo>
                    <a:pt x="129064" y="0"/>
                    <a:pt x="166306" y="36481"/>
                    <a:pt x="166306" y="81343"/>
                  </a:cubicBezTo>
                  <a:cubicBezTo>
                    <a:pt x="166306" y="126301"/>
                    <a:pt x="129064" y="162687"/>
                    <a:pt x="83153" y="162687"/>
                  </a:cubicBezTo>
                  <a:cubicBezTo>
                    <a:pt x="37243" y="162687"/>
                    <a:pt x="0" y="126206"/>
                    <a:pt x="0" y="81343"/>
                  </a:cubicBezTo>
                  <a:cubicBezTo>
                    <a:pt x="0" y="36481"/>
                    <a:pt x="37243" y="0"/>
                    <a:pt x="83153" y="0"/>
                  </a:cubicBezTo>
                  <a:lnTo>
                    <a:pt x="83153" y="0"/>
                  </a:lnTo>
                  <a:close/>
                  <a:moveTo>
                    <a:pt x="83153" y="9334"/>
                  </a:moveTo>
                  <a:cubicBezTo>
                    <a:pt x="122587" y="9334"/>
                    <a:pt x="154686" y="41624"/>
                    <a:pt x="154686" y="81439"/>
                  </a:cubicBezTo>
                  <a:cubicBezTo>
                    <a:pt x="154686" y="121253"/>
                    <a:pt x="122682" y="153543"/>
                    <a:pt x="83153" y="153543"/>
                  </a:cubicBezTo>
                  <a:cubicBezTo>
                    <a:pt x="43720" y="153543"/>
                    <a:pt x="11621" y="121253"/>
                    <a:pt x="11621" y="81439"/>
                  </a:cubicBezTo>
                  <a:cubicBezTo>
                    <a:pt x="11621" y="41624"/>
                    <a:pt x="43625" y="9334"/>
                    <a:pt x="83153" y="9334"/>
                  </a:cubicBezTo>
                  <a:lnTo>
                    <a:pt x="83153" y="9334"/>
                  </a:lnTo>
                  <a:close/>
                </a:path>
              </a:pathLst>
            </a:custGeom>
            <a:solidFill>
              <a:srgbClr val="879B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3198">
                <a:solidFill>
                  <a:srgbClr val="D7E4EE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1002" name="Gruppieren 1001">
            <a:extLst>
              <a:ext uri="{FF2B5EF4-FFF2-40B4-BE49-F238E27FC236}">
                <a16:creationId xmlns:a16="http://schemas.microsoft.com/office/drawing/2014/main" id="{D6E1E82B-ED59-BCCF-DAB8-C5A56F5D82C8}"/>
              </a:ext>
            </a:extLst>
          </p:cNvPr>
          <p:cNvGrpSpPr/>
          <p:nvPr/>
        </p:nvGrpSpPr>
        <p:grpSpPr>
          <a:xfrm>
            <a:off x="2227001" y="3387155"/>
            <a:ext cx="177972" cy="194744"/>
            <a:chOff x="5045632" y="2780143"/>
            <a:chExt cx="136316" cy="149161"/>
          </a:xfrm>
        </p:grpSpPr>
        <p:sp>
          <p:nvSpPr>
            <p:cNvPr id="1003" name="Freihandform: Form 1002">
              <a:extLst>
                <a:ext uri="{FF2B5EF4-FFF2-40B4-BE49-F238E27FC236}">
                  <a16:creationId xmlns:a16="http://schemas.microsoft.com/office/drawing/2014/main" id="{761D38FB-9889-376E-7C7F-BEE238A8529F}"/>
                </a:ext>
              </a:extLst>
            </p:cNvPr>
            <p:cNvSpPr/>
            <p:nvPr/>
          </p:nvSpPr>
          <p:spPr>
            <a:xfrm>
              <a:off x="5045632" y="2814433"/>
              <a:ext cx="87820" cy="87820"/>
            </a:xfrm>
            <a:custGeom>
              <a:avLst/>
              <a:gdLst>
                <a:gd name="connsiteX0" fmla="*/ 87821 w 87820"/>
                <a:gd name="connsiteY0" fmla="*/ 43910 h 87820"/>
                <a:gd name="connsiteX1" fmla="*/ 43910 w 87820"/>
                <a:gd name="connsiteY1" fmla="*/ 87820 h 87820"/>
                <a:gd name="connsiteX2" fmla="*/ 0 w 87820"/>
                <a:gd name="connsiteY2" fmla="*/ 43910 h 87820"/>
                <a:gd name="connsiteX3" fmla="*/ 43910 w 87820"/>
                <a:gd name="connsiteY3" fmla="*/ 0 h 87820"/>
                <a:gd name="connsiteX4" fmla="*/ 87821 w 87820"/>
                <a:gd name="connsiteY4" fmla="*/ 43910 h 8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820" h="87820">
                  <a:moveTo>
                    <a:pt x="87821" y="43910"/>
                  </a:moveTo>
                  <a:cubicBezTo>
                    <a:pt x="87821" y="68161"/>
                    <a:pt x="68161" y="87820"/>
                    <a:pt x="43910" y="87820"/>
                  </a:cubicBezTo>
                  <a:cubicBezTo>
                    <a:pt x="19659" y="87820"/>
                    <a:pt x="0" y="68161"/>
                    <a:pt x="0" y="43910"/>
                  </a:cubicBezTo>
                  <a:cubicBezTo>
                    <a:pt x="0" y="19659"/>
                    <a:pt x="19659" y="0"/>
                    <a:pt x="43910" y="0"/>
                  </a:cubicBezTo>
                  <a:cubicBezTo>
                    <a:pt x="68161" y="0"/>
                    <a:pt x="87821" y="19659"/>
                    <a:pt x="87821" y="43910"/>
                  </a:cubicBez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4" name="Freihandform: Form 1003">
              <a:extLst>
                <a:ext uri="{FF2B5EF4-FFF2-40B4-BE49-F238E27FC236}">
                  <a16:creationId xmlns:a16="http://schemas.microsoft.com/office/drawing/2014/main" id="{8C4CFE51-FCCB-9977-55FE-55C544D77BB0}"/>
                </a:ext>
              </a:extLst>
            </p:cNvPr>
            <p:cNvSpPr/>
            <p:nvPr/>
          </p:nvSpPr>
          <p:spPr>
            <a:xfrm>
              <a:off x="5056109" y="2807194"/>
              <a:ext cx="66865" cy="43910"/>
            </a:xfrm>
            <a:custGeom>
              <a:avLst/>
              <a:gdLst>
                <a:gd name="connsiteX0" fmla="*/ 48101 w 66865"/>
                <a:gd name="connsiteY0" fmla="*/ 43910 h 43910"/>
                <a:gd name="connsiteX1" fmla="*/ 19241 w 66865"/>
                <a:gd name="connsiteY1" fmla="*/ 43910 h 43910"/>
                <a:gd name="connsiteX2" fmla="*/ 0 w 66865"/>
                <a:gd name="connsiteY2" fmla="*/ 0 h 43910"/>
                <a:gd name="connsiteX3" fmla="*/ 66866 w 66865"/>
                <a:gd name="connsiteY3" fmla="*/ 0 h 4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3910">
                  <a:moveTo>
                    <a:pt x="48101" y="43910"/>
                  </a:moveTo>
                  <a:lnTo>
                    <a:pt x="19241" y="43910"/>
                  </a:lnTo>
                  <a:lnTo>
                    <a:pt x="0" y="0"/>
                  </a:lnTo>
                  <a:lnTo>
                    <a:pt x="66866" y="0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5" name="Freihandform: Form 1004">
              <a:extLst>
                <a:ext uri="{FF2B5EF4-FFF2-40B4-BE49-F238E27FC236}">
                  <a16:creationId xmlns:a16="http://schemas.microsoft.com/office/drawing/2014/main" id="{FC0D9032-5A21-6E8F-3547-50A736255B90}"/>
                </a:ext>
              </a:extLst>
            </p:cNvPr>
            <p:cNvSpPr/>
            <p:nvPr/>
          </p:nvSpPr>
          <p:spPr>
            <a:xfrm>
              <a:off x="5056109" y="2860724"/>
              <a:ext cx="66865" cy="47053"/>
            </a:xfrm>
            <a:custGeom>
              <a:avLst/>
              <a:gdLst>
                <a:gd name="connsiteX0" fmla="*/ 18764 w 66865"/>
                <a:gd name="connsiteY0" fmla="*/ 0 h 47053"/>
                <a:gd name="connsiteX1" fmla="*/ 47530 w 66865"/>
                <a:gd name="connsiteY1" fmla="*/ 0 h 47053"/>
                <a:gd name="connsiteX2" fmla="*/ 66866 w 66865"/>
                <a:gd name="connsiteY2" fmla="*/ 47054 h 47053"/>
                <a:gd name="connsiteX3" fmla="*/ 0 w 66865"/>
                <a:gd name="connsiteY3" fmla="*/ 47054 h 47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865" h="47053">
                  <a:moveTo>
                    <a:pt x="18764" y="0"/>
                  </a:moveTo>
                  <a:lnTo>
                    <a:pt x="47530" y="0"/>
                  </a:lnTo>
                  <a:lnTo>
                    <a:pt x="66866" y="47054"/>
                  </a:lnTo>
                  <a:lnTo>
                    <a:pt x="0" y="47054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6" name="Freihandform: Form 1005">
              <a:extLst>
                <a:ext uri="{FF2B5EF4-FFF2-40B4-BE49-F238E27FC236}">
                  <a16:creationId xmlns:a16="http://schemas.microsoft.com/office/drawing/2014/main" id="{FB0AE740-B6F3-4611-13B5-37CE9DF0D693}"/>
                </a:ext>
              </a:extLst>
            </p:cNvPr>
            <p:cNvSpPr/>
            <p:nvPr/>
          </p:nvSpPr>
          <p:spPr>
            <a:xfrm>
              <a:off x="5050585" y="278014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7" name="Freihandform: Form 1006">
              <a:extLst>
                <a:ext uri="{FF2B5EF4-FFF2-40B4-BE49-F238E27FC236}">
                  <a16:creationId xmlns:a16="http://schemas.microsoft.com/office/drawing/2014/main" id="{21249D2B-8770-8CE5-8E13-A5401AD4C0C2}"/>
                </a:ext>
              </a:extLst>
            </p:cNvPr>
            <p:cNvSpPr/>
            <p:nvPr/>
          </p:nvSpPr>
          <p:spPr>
            <a:xfrm>
              <a:off x="5050585" y="2902253"/>
              <a:ext cx="77819" cy="27051"/>
            </a:xfrm>
            <a:custGeom>
              <a:avLst/>
              <a:gdLst>
                <a:gd name="connsiteX0" fmla="*/ 0 w 77819"/>
                <a:gd name="connsiteY0" fmla="*/ 0 h 27051"/>
                <a:gd name="connsiteX1" fmla="*/ 77819 w 77819"/>
                <a:gd name="connsiteY1" fmla="*/ 0 h 27051"/>
                <a:gd name="connsiteX2" fmla="*/ 77819 w 77819"/>
                <a:gd name="connsiteY2" fmla="*/ 27051 h 27051"/>
                <a:gd name="connsiteX3" fmla="*/ 0 w 77819"/>
                <a:gd name="connsiteY3" fmla="*/ 27051 h 2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819" h="27051">
                  <a:moveTo>
                    <a:pt x="0" y="0"/>
                  </a:moveTo>
                  <a:lnTo>
                    <a:pt x="77819" y="0"/>
                  </a:lnTo>
                  <a:lnTo>
                    <a:pt x="77819" y="27051"/>
                  </a:lnTo>
                  <a:lnTo>
                    <a:pt x="0" y="2705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8" name="Freihandform: Form 1007">
              <a:extLst>
                <a:ext uri="{FF2B5EF4-FFF2-40B4-BE49-F238E27FC236}">
                  <a16:creationId xmlns:a16="http://schemas.microsoft.com/office/drawing/2014/main" id="{96D25BA8-79D7-7506-EFA4-6C3545F4A947}"/>
                </a:ext>
              </a:extLst>
            </p:cNvPr>
            <p:cNvSpPr/>
            <p:nvPr/>
          </p:nvSpPr>
          <p:spPr>
            <a:xfrm>
              <a:off x="5122689" y="2851104"/>
              <a:ext cx="54673" cy="7238"/>
            </a:xfrm>
            <a:custGeom>
              <a:avLst/>
              <a:gdLst>
                <a:gd name="connsiteX0" fmla="*/ 0 w 54673"/>
                <a:gd name="connsiteY0" fmla="*/ 0 h 7238"/>
                <a:gd name="connsiteX1" fmla="*/ 54674 w 54673"/>
                <a:gd name="connsiteY1" fmla="*/ 0 h 7238"/>
                <a:gd name="connsiteX2" fmla="*/ 54674 w 54673"/>
                <a:gd name="connsiteY2" fmla="*/ 7239 h 7238"/>
                <a:gd name="connsiteX3" fmla="*/ 0 w 54673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673" h="7238">
                  <a:moveTo>
                    <a:pt x="0" y="0"/>
                  </a:moveTo>
                  <a:lnTo>
                    <a:pt x="54674" y="0"/>
                  </a:lnTo>
                  <a:lnTo>
                    <a:pt x="54674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09" name="Freihandform: Form 1008">
              <a:extLst>
                <a:ext uri="{FF2B5EF4-FFF2-40B4-BE49-F238E27FC236}">
                  <a16:creationId xmlns:a16="http://schemas.microsoft.com/office/drawing/2014/main" id="{205FE190-E9F2-8FE0-7D9C-B942489989A3}"/>
                </a:ext>
              </a:extLst>
            </p:cNvPr>
            <p:cNvSpPr/>
            <p:nvPr/>
          </p:nvSpPr>
          <p:spPr>
            <a:xfrm rot="16200000">
              <a:off x="5144516" y="2851071"/>
              <a:ext cx="65627" cy="7238"/>
            </a:xfrm>
            <a:custGeom>
              <a:avLst/>
              <a:gdLst>
                <a:gd name="connsiteX0" fmla="*/ 0 w 65627"/>
                <a:gd name="connsiteY0" fmla="*/ 0 h 7238"/>
                <a:gd name="connsiteX1" fmla="*/ 65627 w 65627"/>
                <a:gd name="connsiteY1" fmla="*/ 0 h 7238"/>
                <a:gd name="connsiteX2" fmla="*/ 65627 w 65627"/>
                <a:gd name="connsiteY2" fmla="*/ 7239 h 7238"/>
                <a:gd name="connsiteX3" fmla="*/ 0 w 65627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627" h="7238">
                  <a:moveTo>
                    <a:pt x="0" y="0"/>
                  </a:moveTo>
                  <a:lnTo>
                    <a:pt x="65627" y="0"/>
                  </a:lnTo>
                  <a:lnTo>
                    <a:pt x="65627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10" name="Freihandform: Form 1009">
              <a:extLst>
                <a:ext uri="{FF2B5EF4-FFF2-40B4-BE49-F238E27FC236}">
                  <a16:creationId xmlns:a16="http://schemas.microsoft.com/office/drawing/2014/main" id="{1D73FDF5-45A0-BEB6-7A4E-BC629789BFE3}"/>
                </a:ext>
              </a:extLst>
            </p:cNvPr>
            <p:cNvSpPr/>
            <p:nvPr/>
          </p:nvSpPr>
          <p:spPr>
            <a:xfrm rot="19482087">
              <a:off x="5148976" y="2840692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  <p:sp>
          <p:nvSpPr>
            <p:cNvPr id="1011" name="Freihandform: Form 1010">
              <a:extLst>
                <a:ext uri="{FF2B5EF4-FFF2-40B4-BE49-F238E27FC236}">
                  <a16:creationId xmlns:a16="http://schemas.microsoft.com/office/drawing/2014/main" id="{ADE9D933-7DBE-CA39-4B6D-B01480DE1177}"/>
                </a:ext>
              </a:extLst>
            </p:cNvPr>
            <p:cNvSpPr/>
            <p:nvPr/>
          </p:nvSpPr>
          <p:spPr>
            <a:xfrm rot="2117913">
              <a:off x="5149089" y="2860724"/>
              <a:ext cx="32859" cy="7238"/>
            </a:xfrm>
            <a:custGeom>
              <a:avLst/>
              <a:gdLst>
                <a:gd name="connsiteX0" fmla="*/ 0 w 32859"/>
                <a:gd name="connsiteY0" fmla="*/ 0 h 7238"/>
                <a:gd name="connsiteX1" fmla="*/ 32859 w 32859"/>
                <a:gd name="connsiteY1" fmla="*/ 0 h 7238"/>
                <a:gd name="connsiteX2" fmla="*/ 32859 w 32859"/>
                <a:gd name="connsiteY2" fmla="*/ 7239 h 7238"/>
                <a:gd name="connsiteX3" fmla="*/ 0 w 32859"/>
                <a:gd name="connsiteY3" fmla="*/ 7239 h 7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59" h="7238">
                  <a:moveTo>
                    <a:pt x="0" y="0"/>
                  </a:moveTo>
                  <a:lnTo>
                    <a:pt x="32859" y="0"/>
                  </a:lnTo>
                  <a:lnTo>
                    <a:pt x="32859" y="7239"/>
                  </a:lnTo>
                  <a:lnTo>
                    <a:pt x="0" y="7239"/>
                  </a:lnTo>
                  <a:close/>
                </a:path>
              </a:pathLst>
            </a:custGeom>
            <a:solidFill>
              <a:srgbClr val="5A616B"/>
            </a:solidFill>
            <a:ln w="9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943">
                <a:defRPr/>
              </a:pPr>
              <a:endParaRPr lang="en-US" sz="3198" kern="0">
                <a:solidFill>
                  <a:srgbClr val="ADBECB"/>
                </a:solidFill>
                <a:latin typeface="Siemens Sans" pitchFamily="2" charset="0"/>
              </a:endParaRPr>
            </a:p>
          </p:txBody>
        </p:sp>
      </p:grpSp>
      <p:grpSp>
        <p:nvGrpSpPr>
          <p:cNvPr id="1202" name="Grafik 199">
            <a:extLst>
              <a:ext uri="{FF2B5EF4-FFF2-40B4-BE49-F238E27FC236}">
                <a16:creationId xmlns:a16="http://schemas.microsoft.com/office/drawing/2014/main" id="{3B685B67-1914-D5F6-0C2F-AEA6FCB952EA}"/>
              </a:ext>
            </a:extLst>
          </p:cNvPr>
          <p:cNvGrpSpPr/>
          <p:nvPr/>
        </p:nvGrpSpPr>
        <p:grpSpPr>
          <a:xfrm rot="5400000">
            <a:off x="2219045" y="4974765"/>
            <a:ext cx="302700" cy="309456"/>
            <a:chOff x="5423344" y="4032228"/>
            <a:chExt cx="213361" cy="218122"/>
          </a:xfrm>
          <a:solidFill>
            <a:srgbClr val="000000"/>
          </a:solidFill>
          <a:effectLst/>
        </p:grpSpPr>
        <p:sp>
          <p:nvSpPr>
            <p:cNvPr id="1203" name="Freihandform: Form 1202">
              <a:extLst>
                <a:ext uri="{FF2B5EF4-FFF2-40B4-BE49-F238E27FC236}">
                  <a16:creationId xmlns:a16="http://schemas.microsoft.com/office/drawing/2014/main" id="{EC2D8F27-33DF-813B-4DA2-EB61313F3994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2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94"/>
                    <a:pt x="165598" y="218122"/>
                    <a:pt x="106680" y="218122"/>
                  </a:cubicBezTo>
                  <a:cubicBezTo>
                    <a:pt x="47762" y="218122"/>
                    <a:pt x="0" y="169294"/>
                    <a:pt x="0" y="109061"/>
                  </a:cubicBezTo>
                  <a:cubicBezTo>
                    <a:pt x="0" y="48828"/>
                    <a:pt x="47762" y="0"/>
                    <a:pt x="106680" y="0"/>
                  </a:cubicBezTo>
                  <a:cubicBezTo>
                    <a:pt x="165598" y="0"/>
                    <a:pt x="213360" y="48828"/>
                    <a:pt x="213360" y="10906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04" name="Freihandform: Form 1203">
              <a:extLst>
                <a:ext uri="{FF2B5EF4-FFF2-40B4-BE49-F238E27FC236}">
                  <a16:creationId xmlns:a16="http://schemas.microsoft.com/office/drawing/2014/main" id="{225619B2-B062-1C8A-3FC5-2A81EDAFC6D5}"/>
                </a:ext>
              </a:extLst>
            </p:cNvPr>
            <p:cNvSpPr/>
            <p:nvPr/>
          </p:nvSpPr>
          <p:spPr>
            <a:xfrm>
              <a:off x="5438715" y="4051935"/>
              <a:ext cx="179641" cy="179641"/>
            </a:xfrm>
            <a:custGeom>
              <a:avLst/>
              <a:gdLst>
                <a:gd name="connsiteX0" fmla="*/ 154972 w 179641"/>
                <a:gd name="connsiteY0" fmla="*/ 151638 h 179641"/>
                <a:gd name="connsiteX1" fmla="*/ 89821 w 179641"/>
                <a:gd name="connsiteY1" fmla="*/ 179642 h 179641"/>
                <a:gd name="connsiteX2" fmla="*/ 0 w 179641"/>
                <a:gd name="connsiteY2" fmla="*/ 89821 h 179641"/>
                <a:gd name="connsiteX3" fmla="*/ 89821 w 179641"/>
                <a:gd name="connsiteY3" fmla="*/ 0 h 179641"/>
                <a:gd name="connsiteX4" fmla="*/ 150304 w 179641"/>
                <a:gd name="connsiteY4" fmla="*/ 23432 h 179641"/>
                <a:gd name="connsiteX5" fmla="*/ 111157 w 179641"/>
                <a:gd name="connsiteY5" fmla="*/ 23432 h 179641"/>
                <a:gd name="connsiteX6" fmla="*/ 111062 w 179641"/>
                <a:gd name="connsiteY6" fmla="*/ 19050 h 179641"/>
                <a:gd name="connsiteX7" fmla="*/ 49530 w 179641"/>
                <a:gd name="connsiteY7" fmla="*/ 19050 h 179641"/>
                <a:gd name="connsiteX8" fmla="*/ 49530 w 179641"/>
                <a:gd name="connsiteY8" fmla="*/ 23432 h 179641"/>
                <a:gd name="connsiteX9" fmla="*/ 48768 w 179641"/>
                <a:gd name="connsiteY9" fmla="*/ 23432 h 179641"/>
                <a:gd name="connsiteX10" fmla="*/ 40672 w 179641"/>
                <a:gd name="connsiteY10" fmla="*/ 30480 h 179641"/>
                <a:gd name="connsiteX11" fmla="*/ 48578 w 179641"/>
                <a:gd name="connsiteY11" fmla="*/ 37243 h 179641"/>
                <a:gd name="connsiteX12" fmla="*/ 99155 w 179641"/>
                <a:gd name="connsiteY12" fmla="*/ 37243 h 179641"/>
                <a:gd name="connsiteX13" fmla="*/ 99155 w 179641"/>
                <a:gd name="connsiteY13" fmla="*/ 37338 h 179641"/>
                <a:gd name="connsiteX14" fmla="*/ 113729 w 179641"/>
                <a:gd name="connsiteY14" fmla="*/ 37243 h 179641"/>
                <a:gd name="connsiteX15" fmla="*/ 117538 w 179641"/>
                <a:gd name="connsiteY15" fmla="*/ 40100 h 179641"/>
                <a:gd name="connsiteX16" fmla="*/ 113729 w 179641"/>
                <a:gd name="connsiteY16" fmla="*/ 42577 h 179641"/>
                <a:gd name="connsiteX17" fmla="*/ 110966 w 179641"/>
                <a:gd name="connsiteY17" fmla="*/ 42577 h 179641"/>
                <a:gd name="connsiteX18" fmla="*/ 111062 w 179641"/>
                <a:gd name="connsiteY18" fmla="*/ 39053 h 179641"/>
                <a:gd name="connsiteX19" fmla="*/ 49530 w 179641"/>
                <a:gd name="connsiteY19" fmla="*/ 39053 h 179641"/>
                <a:gd name="connsiteX20" fmla="*/ 49435 w 179641"/>
                <a:gd name="connsiteY20" fmla="*/ 42577 h 179641"/>
                <a:gd name="connsiteX21" fmla="*/ 48673 w 179641"/>
                <a:gd name="connsiteY21" fmla="*/ 42577 h 179641"/>
                <a:gd name="connsiteX22" fmla="*/ 40576 w 179641"/>
                <a:gd name="connsiteY22" fmla="*/ 49625 h 179641"/>
                <a:gd name="connsiteX23" fmla="*/ 48482 w 179641"/>
                <a:gd name="connsiteY23" fmla="*/ 56388 h 179641"/>
                <a:gd name="connsiteX24" fmla="*/ 99060 w 179641"/>
                <a:gd name="connsiteY24" fmla="*/ 56388 h 179641"/>
                <a:gd name="connsiteX25" fmla="*/ 99060 w 179641"/>
                <a:gd name="connsiteY25" fmla="*/ 56483 h 179641"/>
                <a:gd name="connsiteX26" fmla="*/ 113633 w 179641"/>
                <a:gd name="connsiteY26" fmla="*/ 56388 h 179641"/>
                <a:gd name="connsiteX27" fmla="*/ 117443 w 179641"/>
                <a:gd name="connsiteY27" fmla="*/ 59246 h 179641"/>
                <a:gd name="connsiteX28" fmla="*/ 113633 w 179641"/>
                <a:gd name="connsiteY28" fmla="*/ 61722 h 179641"/>
                <a:gd name="connsiteX29" fmla="*/ 110871 w 179641"/>
                <a:gd name="connsiteY29" fmla="*/ 61722 h 179641"/>
                <a:gd name="connsiteX30" fmla="*/ 110871 w 179641"/>
                <a:gd name="connsiteY30" fmla="*/ 58484 h 179641"/>
                <a:gd name="connsiteX31" fmla="*/ 49340 w 179641"/>
                <a:gd name="connsiteY31" fmla="*/ 58484 h 179641"/>
                <a:gd name="connsiteX32" fmla="*/ 49340 w 179641"/>
                <a:gd name="connsiteY32" fmla="*/ 61722 h 179641"/>
                <a:gd name="connsiteX33" fmla="*/ 48673 w 179641"/>
                <a:gd name="connsiteY33" fmla="*/ 61722 h 179641"/>
                <a:gd name="connsiteX34" fmla="*/ 40576 w 179641"/>
                <a:gd name="connsiteY34" fmla="*/ 68771 h 179641"/>
                <a:gd name="connsiteX35" fmla="*/ 48482 w 179641"/>
                <a:gd name="connsiteY35" fmla="*/ 75533 h 179641"/>
                <a:gd name="connsiteX36" fmla="*/ 113633 w 179641"/>
                <a:gd name="connsiteY36" fmla="*/ 75533 h 179641"/>
                <a:gd name="connsiteX37" fmla="*/ 113633 w 179641"/>
                <a:gd name="connsiteY37" fmla="*/ 75438 h 179641"/>
                <a:gd name="connsiteX38" fmla="*/ 117443 w 179641"/>
                <a:gd name="connsiteY38" fmla="*/ 78296 h 179641"/>
                <a:gd name="connsiteX39" fmla="*/ 113633 w 179641"/>
                <a:gd name="connsiteY39" fmla="*/ 80772 h 179641"/>
                <a:gd name="connsiteX40" fmla="*/ 110776 w 179641"/>
                <a:gd name="connsiteY40" fmla="*/ 80772 h 179641"/>
                <a:gd name="connsiteX41" fmla="*/ 110776 w 179641"/>
                <a:gd name="connsiteY41" fmla="*/ 77438 h 179641"/>
                <a:gd name="connsiteX42" fmla="*/ 49244 w 179641"/>
                <a:gd name="connsiteY42" fmla="*/ 77438 h 179641"/>
                <a:gd name="connsiteX43" fmla="*/ 49244 w 179641"/>
                <a:gd name="connsiteY43" fmla="*/ 80772 h 179641"/>
                <a:gd name="connsiteX44" fmla="*/ 48578 w 179641"/>
                <a:gd name="connsiteY44" fmla="*/ 80772 h 179641"/>
                <a:gd name="connsiteX45" fmla="*/ 40481 w 179641"/>
                <a:gd name="connsiteY45" fmla="*/ 87821 h 179641"/>
                <a:gd name="connsiteX46" fmla="*/ 48387 w 179641"/>
                <a:gd name="connsiteY46" fmla="*/ 94583 h 179641"/>
                <a:gd name="connsiteX47" fmla="*/ 113538 w 179641"/>
                <a:gd name="connsiteY47" fmla="*/ 94583 h 179641"/>
                <a:gd name="connsiteX48" fmla="*/ 113538 w 179641"/>
                <a:gd name="connsiteY48" fmla="*/ 94488 h 179641"/>
                <a:gd name="connsiteX49" fmla="*/ 117348 w 179641"/>
                <a:gd name="connsiteY49" fmla="*/ 97346 h 179641"/>
                <a:gd name="connsiteX50" fmla="*/ 113538 w 179641"/>
                <a:gd name="connsiteY50" fmla="*/ 99822 h 179641"/>
                <a:gd name="connsiteX51" fmla="*/ 110680 w 179641"/>
                <a:gd name="connsiteY51" fmla="*/ 99822 h 179641"/>
                <a:gd name="connsiteX52" fmla="*/ 110680 w 179641"/>
                <a:gd name="connsiteY52" fmla="*/ 96488 h 179641"/>
                <a:gd name="connsiteX53" fmla="*/ 49149 w 179641"/>
                <a:gd name="connsiteY53" fmla="*/ 96488 h 179641"/>
                <a:gd name="connsiteX54" fmla="*/ 49149 w 179641"/>
                <a:gd name="connsiteY54" fmla="*/ 99822 h 179641"/>
                <a:gd name="connsiteX55" fmla="*/ 48482 w 179641"/>
                <a:gd name="connsiteY55" fmla="*/ 99822 h 179641"/>
                <a:gd name="connsiteX56" fmla="*/ 40386 w 179641"/>
                <a:gd name="connsiteY56" fmla="*/ 106871 h 179641"/>
                <a:gd name="connsiteX57" fmla="*/ 48292 w 179641"/>
                <a:gd name="connsiteY57" fmla="*/ 113633 h 179641"/>
                <a:gd name="connsiteX58" fmla="*/ 98870 w 179641"/>
                <a:gd name="connsiteY58" fmla="*/ 113633 h 179641"/>
                <a:gd name="connsiteX59" fmla="*/ 98870 w 179641"/>
                <a:gd name="connsiteY59" fmla="*/ 113633 h 179641"/>
                <a:gd name="connsiteX60" fmla="*/ 100108 w 179641"/>
                <a:gd name="connsiteY60" fmla="*/ 113633 h 179641"/>
                <a:gd name="connsiteX61" fmla="*/ 113443 w 179641"/>
                <a:gd name="connsiteY61" fmla="*/ 113633 h 179641"/>
                <a:gd name="connsiteX62" fmla="*/ 113443 w 179641"/>
                <a:gd name="connsiteY62" fmla="*/ 113538 h 179641"/>
                <a:gd name="connsiteX63" fmla="*/ 117253 w 179641"/>
                <a:gd name="connsiteY63" fmla="*/ 116396 h 179641"/>
                <a:gd name="connsiteX64" fmla="*/ 113443 w 179641"/>
                <a:gd name="connsiteY64" fmla="*/ 118872 h 179641"/>
                <a:gd name="connsiteX65" fmla="*/ 110585 w 179641"/>
                <a:gd name="connsiteY65" fmla="*/ 118872 h 179641"/>
                <a:gd name="connsiteX66" fmla="*/ 110585 w 179641"/>
                <a:gd name="connsiteY66" fmla="*/ 115443 h 179641"/>
                <a:gd name="connsiteX67" fmla="*/ 49054 w 179641"/>
                <a:gd name="connsiteY67" fmla="*/ 115443 h 179641"/>
                <a:gd name="connsiteX68" fmla="*/ 49054 w 179641"/>
                <a:gd name="connsiteY68" fmla="*/ 118872 h 179641"/>
                <a:gd name="connsiteX69" fmla="*/ 48387 w 179641"/>
                <a:gd name="connsiteY69" fmla="*/ 118872 h 179641"/>
                <a:gd name="connsiteX70" fmla="*/ 40291 w 179641"/>
                <a:gd name="connsiteY70" fmla="*/ 125921 h 179641"/>
                <a:gd name="connsiteX71" fmla="*/ 48196 w 179641"/>
                <a:gd name="connsiteY71" fmla="*/ 132683 h 179641"/>
                <a:gd name="connsiteX72" fmla="*/ 113348 w 179641"/>
                <a:gd name="connsiteY72" fmla="*/ 132683 h 179641"/>
                <a:gd name="connsiteX73" fmla="*/ 113348 w 179641"/>
                <a:gd name="connsiteY73" fmla="*/ 132588 h 179641"/>
                <a:gd name="connsiteX74" fmla="*/ 117158 w 179641"/>
                <a:gd name="connsiteY74" fmla="*/ 135446 h 179641"/>
                <a:gd name="connsiteX75" fmla="*/ 113348 w 179641"/>
                <a:gd name="connsiteY75" fmla="*/ 137922 h 179641"/>
                <a:gd name="connsiteX76" fmla="*/ 110490 w 179641"/>
                <a:gd name="connsiteY76" fmla="*/ 137922 h 179641"/>
                <a:gd name="connsiteX77" fmla="*/ 110490 w 179641"/>
                <a:gd name="connsiteY77" fmla="*/ 134588 h 179641"/>
                <a:gd name="connsiteX78" fmla="*/ 48958 w 179641"/>
                <a:gd name="connsiteY78" fmla="*/ 134588 h 179641"/>
                <a:gd name="connsiteX79" fmla="*/ 48958 w 179641"/>
                <a:gd name="connsiteY79" fmla="*/ 137922 h 179641"/>
                <a:gd name="connsiteX80" fmla="*/ 48292 w 179641"/>
                <a:gd name="connsiteY80" fmla="*/ 137922 h 179641"/>
                <a:gd name="connsiteX81" fmla="*/ 40196 w 179641"/>
                <a:gd name="connsiteY81" fmla="*/ 144971 h 179641"/>
                <a:gd name="connsiteX82" fmla="*/ 48101 w 179641"/>
                <a:gd name="connsiteY82" fmla="*/ 151733 h 179641"/>
                <a:gd name="connsiteX83" fmla="*/ 154972 w 179641"/>
                <a:gd name="connsiteY83" fmla="*/ 151733 h 179641"/>
                <a:gd name="connsiteX84" fmla="*/ 154972 w 179641"/>
                <a:gd name="connsiteY84" fmla="*/ 151638 h 179641"/>
                <a:gd name="connsiteX85" fmla="*/ 154686 w 179641"/>
                <a:gd name="connsiteY85" fmla="*/ 27813 h 179641"/>
                <a:gd name="connsiteX86" fmla="*/ 179642 w 179641"/>
                <a:gd name="connsiteY86" fmla="*/ 89821 h 179641"/>
                <a:gd name="connsiteX87" fmla="*/ 158687 w 179641"/>
                <a:gd name="connsiteY87" fmla="*/ 147352 h 179641"/>
                <a:gd name="connsiteX88" fmla="*/ 48768 w 179641"/>
                <a:gd name="connsiteY88" fmla="*/ 147352 h 179641"/>
                <a:gd name="connsiteX89" fmla="*/ 44863 w 179641"/>
                <a:gd name="connsiteY89" fmla="*/ 144780 h 179641"/>
                <a:gd name="connsiteX90" fmla="*/ 48768 w 179641"/>
                <a:gd name="connsiteY90" fmla="*/ 142113 h 179641"/>
                <a:gd name="connsiteX91" fmla="*/ 49530 w 179641"/>
                <a:gd name="connsiteY91" fmla="*/ 142113 h 179641"/>
                <a:gd name="connsiteX92" fmla="*/ 49530 w 179641"/>
                <a:gd name="connsiteY92" fmla="*/ 145447 h 179641"/>
                <a:gd name="connsiteX93" fmla="*/ 111062 w 179641"/>
                <a:gd name="connsiteY93" fmla="*/ 145447 h 179641"/>
                <a:gd name="connsiteX94" fmla="*/ 111062 w 179641"/>
                <a:gd name="connsiteY94" fmla="*/ 142113 h 179641"/>
                <a:gd name="connsiteX95" fmla="*/ 113919 w 179641"/>
                <a:gd name="connsiteY95" fmla="*/ 142113 h 179641"/>
                <a:gd name="connsiteX96" fmla="*/ 121825 w 179641"/>
                <a:gd name="connsiteY96" fmla="*/ 135255 h 179641"/>
                <a:gd name="connsiteX97" fmla="*/ 113919 w 179641"/>
                <a:gd name="connsiteY97" fmla="*/ 128302 h 179641"/>
                <a:gd name="connsiteX98" fmla="*/ 99536 w 179641"/>
                <a:gd name="connsiteY98" fmla="*/ 128302 h 179641"/>
                <a:gd name="connsiteX99" fmla="*/ 99536 w 179641"/>
                <a:gd name="connsiteY99" fmla="*/ 128397 h 179641"/>
                <a:gd name="connsiteX100" fmla="*/ 48863 w 179641"/>
                <a:gd name="connsiteY100" fmla="*/ 128397 h 179641"/>
                <a:gd name="connsiteX101" fmla="*/ 44958 w 179641"/>
                <a:gd name="connsiteY101" fmla="*/ 125825 h 179641"/>
                <a:gd name="connsiteX102" fmla="*/ 48863 w 179641"/>
                <a:gd name="connsiteY102" fmla="*/ 123158 h 179641"/>
                <a:gd name="connsiteX103" fmla="*/ 49625 w 179641"/>
                <a:gd name="connsiteY103" fmla="*/ 123158 h 179641"/>
                <a:gd name="connsiteX104" fmla="*/ 49625 w 179641"/>
                <a:gd name="connsiteY104" fmla="*/ 126397 h 179641"/>
                <a:gd name="connsiteX105" fmla="*/ 111157 w 179641"/>
                <a:gd name="connsiteY105" fmla="*/ 126397 h 179641"/>
                <a:gd name="connsiteX106" fmla="*/ 111157 w 179641"/>
                <a:gd name="connsiteY106" fmla="*/ 123158 h 179641"/>
                <a:gd name="connsiteX107" fmla="*/ 114014 w 179641"/>
                <a:gd name="connsiteY107" fmla="*/ 123158 h 179641"/>
                <a:gd name="connsiteX108" fmla="*/ 121920 w 179641"/>
                <a:gd name="connsiteY108" fmla="*/ 116300 h 179641"/>
                <a:gd name="connsiteX109" fmla="*/ 114014 w 179641"/>
                <a:gd name="connsiteY109" fmla="*/ 109347 h 179641"/>
                <a:gd name="connsiteX110" fmla="*/ 99632 w 179641"/>
                <a:gd name="connsiteY110" fmla="*/ 109347 h 179641"/>
                <a:gd name="connsiteX111" fmla="*/ 99632 w 179641"/>
                <a:gd name="connsiteY111" fmla="*/ 109347 h 179641"/>
                <a:gd name="connsiteX112" fmla="*/ 48958 w 179641"/>
                <a:gd name="connsiteY112" fmla="*/ 109347 h 179641"/>
                <a:gd name="connsiteX113" fmla="*/ 45053 w 179641"/>
                <a:gd name="connsiteY113" fmla="*/ 106775 h 179641"/>
                <a:gd name="connsiteX114" fmla="*/ 48958 w 179641"/>
                <a:gd name="connsiteY114" fmla="*/ 104108 h 179641"/>
                <a:gd name="connsiteX115" fmla="*/ 49721 w 179641"/>
                <a:gd name="connsiteY115" fmla="*/ 104108 h 179641"/>
                <a:gd name="connsiteX116" fmla="*/ 49721 w 179641"/>
                <a:gd name="connsiteY116" fmla="*/ 107442 h 179641"/>
                <a:gd name="connsiteX117" fmla="*/ 111252 w 179641"/>
                <a:gd name="connsiteY117" fmla="*/ 107442 h 179641"/>
                <a:gd name="connsiteX118" fmla="*/ 111252 w 179641"/>
                <a:gd name="connsiteY118" fmla="*/ 104108 h 179641"/>
                <a:gd name="connsiteX119" fmla="*/ 114109 w 179641"/>
                <a:gd name="connsiteY119" fmla="*/ 104108 h 179641"/>
                <a:gd name="connsiteX120" fmla="*/ 122015 w 179641"/>
                <a:gd name="connsiteY120" fmla="*/ 97250 h 179641"/>
                <a:gd name="connsiteX121" fmla="*/ 114109 w 179641"/>
                <a:gd name="connsiteY121" fmla="*/ 90297 h 179641"/>
                <a:gd name="connsiteX122" fmla="*/ 99727 w 179641"/>
                <a:gd name="connsiteY122" fmla="*/ 90297 h 179641"/>
                <a:gd name="connsiteX123" fmla="*/ 99727 w 179641"/>
                <a:gd name="connsiteY123" fmla="*/ 90392 h 179641"/>
                <a:gd name="connsiteX124" fmla="*/ 49054 w 179641"/>
                <a:gd name="connsiteY124" fmla="*/ 90392 h 179641"/>
                <a:gd name="connsiteX125" fmla="*/ 45149 w 179641"/>
                <a:gd name="connsiteY125" fmla="*/ 87821 h 179641"/>
                <a:gd name="connsiteX126" fmla="*/ 49054 w 179641"/>
                <a:gd name="connsiteY126" fmla="*/ 85154 h 179641"/>
                <a:gd name="connsiteX127" fmla="*/ 49816 w 179641"/>
                <a:gd name="connsiteY127" fmla="*/ 85154 h 179641"/>
                <a:gd name="connsiteX128" fmla="*/ 49816 w 179641"/>
                <a:gd name="connsiteY128" fmla="*/ 88583 h 179641"/>
                <a:gd name="connsiteX129" fmla="*/ 111347 w 179641"/>
                <a:gd name="connsiteY129" fmla="*/ 88583 h 179641"/>
                <a:gd name="connsiteX130" fmla="*/ 111347 w 179641"/>
                <a:gd name="connsiteY130" fmla="*/ 85154 h 179641"/>
                <a:gd name="connsiteX131" fmla="*/ 114205 w 179641"/>
                <a:gd name="connsiteY131" fmla="*/ 85154 h 179641"/>
                <a:gd name="connsiteX132" fmla="*/ 122111 w 179641"/>
                <a:gd name="connsiteY132" fmla="*/ 78296 h 179641"/>
                <a:gd name="connsiteX133" fmla="*/ 114205 w 179641"/>
                <a:gd name="connsiteY133" fmla="*/ 71342 h 179641"/>
                <a:gd name="connsiteX134" fmla="*/ 99822 w 179641"/>
                <a:gd name="connsiteY134" fmla="*/ 71342 h 179641"/>
                <a:gd name="connsiteX135" fmla="*/ 99822 w 179641"/>
                <a:gd name="connsiteY135" fmla="*/ 71342 h 179641"/>
                <a:gd name="connsiteX136" fmla="*/ 49149 w 179641"/>
                <a:gd name="connsiteY136" fmla="*/ 71342 h 179641"/>
                <a:gd name="connsiteX137" fmla="*/ 45244 w 179641"/>
                <a:gd name="connsiteY137" fmla="*/ 68771 h 179641"/>
                <a:gd name="connsiteX138" fmla="*/ 49149 w 179641"/>
                <a:gd name="connsiteY138" fmla="*/ 66104 h 179641"/>
                <a:gd name="connsiteX139" fmla="*/ 49911 w 179641"/>
                <a:gd name="connsiteY139" fmla="*/ 66104 h 179641"/>
                <a:gd name="connsiteX140" fmla="*/ 49911 w 179641"/>
                <a:gd name="connsiteY140" fmla="*/ 69342 h 179641"/>
                <a:gd name="connsiteX141" fmla="*/ 111442 w 179641"/>
                <a:gd name="connsiteY141" fmla="*/ 69342 h 179641"/>
                <a:gd name="connsiteX142" fmla="*/ 111442 w 179641"/>
                <a:gd name="connsiteY142" fmla="*/ 66104 h 179641"/>
                <a:gd name="connsiteX143" fmla="*/ 114205 w 179641"/>
                <a:gd name="connsiteY143" fmla="*/ 66104 h 179641"/>
                <a:gd name="connsiteX144" fmla="*/ 122111 w 179641"/>
                <a:gd name="connsiteY144" fmla="*/ 59246 h 179641"/>
                <a:gd name="connsiteX145" fmla="*/ 114205 w 179641"/>
                <a:gd name="connsiteY145" fmla="*/ 52292 h 179641"/>
                <a:gd name="connsiteX146" fmla="*/ 114205 w 179641"/>
                <a:gd name="connsiteY146" fmla="*/ 52197 h 179641"/>
                <a:gd name="connsiteX147" fmla="*/ 49054 w 179641"/>
                <a:gd name="connsiteY147" fmla="*/ 52197 h 179641"/>
                <a:gd name="connsiteX148" fmla="*/ 45149 w 179641"/>
                <a:gd name="connsiteY148" fmla="*/ 49625 h 179641"/>
                <a:gd name="connsiteX149" fmla="*/ 49054 w 179641"/>
                <a:gd name="connsiteY149" fmla="*/ 46958 h 179641"/>
                <a:gd name="connsiteX150" fmla="*/ 49816 w 179641"/>
                <a:gd name="connsiteY150" fmla="*/ 46958 h 179641"/>
                <a:gd name="connsiteX151" fmla="*/ 49721 w 179641"/>
                <a:gd name="connsiteY151" fmla="*/ 50387 h 179641"/>
                <a:gd name="connsiteX152" fmla="*/ 111252 w 179641"/>
                <a:gd name="connsiteY152" fmla="*/ 50387 h 179641"/>
                <a:gd name="connsiteX153" fmla="*/ 111347 w 179641"/>
                <a:gd name="connsiteY153" fmla="*/ 46958 h 179641"/>
                <a:gd name="connsiteX154" fmla="*/ 114205 w 179641"/>
                <a:gd name="connsiteY154" fmla="*/ 46958 h 179641"/>
                <a:gd name="connsiteX155" fmla="*/ 122111 w 179641"/>
                <a:gd name="connsiteY155" fmla="*/ 40100 h 179641"/>
                <a:gd name="connsiteX156" fmla="*/ 114205 w 179641"/>
                <a:gd name="connsiteY156" fmla="*/ 33147 h 179641"/>
                <a:gd name="connsiteX157" fmla="*/ 114205 w 179641"/>
                <a:gd name="connsiteY157" fmla="*/ 33052 h 179641"/>
                <a:gd name="connsiteX158" fmla="*/ 49054 w 179641"/>
                <a:gd name="connsiteY158" fmla="*/ 33052 h 179641"/>
                <a:gd name="connsiteX159" fmla="*/ 45149 w 179641"/>
                <a:gd name="connsiteY159" fmla="*/ 30480 h 179641"/>
                <a:gd name="connsiteX160" fmla="*/ 49054 w 179641"/>
                <a:gd name="connsiteY160" fmla="*/ 27813 h 179641"/>
                <a:gd name="connsiteX161" fmla="*/ 49911 w 179641"/>
                <a:gd name="connsiteY161" fmla="*/ 27813 h 179641"/>
                <a:gd name="connsiteX162" fmla="*/ 49911 w 179641"/>
                <a:gd name="connsiteY162" fmla="*/ 30956 h 179641"/>
                <a:gd name="connsiteX163" fmla="*/ 111442 w 179641"/>
                <a:gd name="connsiteY163" fmla="*/ 30956 h 179641"/>
                <a:gd name="connsiteX164" fmla="*/ 111442 w 179641"/>
                <a:gd name="connsiteY164" fmla="*/ 27813 h 179641"/>
                <a:gd name="connsiteX165" fmla="*/ 154686 w 179641"/>
                <a:gd name="connsiteY165" fmla="*/ 27813 h 179641"/>
                <a:gd name="connsiteX166" fmla="*/ 154686 w 179641"/>
                <a:gd name="connsiteY166" fmla="*/ 27813 h 179641"/>
                <a:gd name="connsiteX167" fmla="*/ 111062 w 179641"/>
                <a:gd name="connsiteY167" fmla="*/ 153543 h 179641"/>
                <a:gd name="connsiteX168" fmla="*/ 111062 w 179641"/>
                <a:gd name="connsiteY168" fmla="*/ 160592 h 179641"/>
                <a:gd name="connsiteX169" fmla="*/ 49530 w 179641"/>
                <a:gd name="connsiteY169" fmla="*/ 160592 h 179641"/>
                <a:gd name="connsiteX170" fmla="*/ 49530 w 179641"/>
                <a:gd name="connsiteY170" fmla="*/ 153543 h 179641"/>
                <a:gd name="connsiteX171" fmla="*/ 111062 w 179641"/>
                <a:gd name="connsiteY171" fmla="*/ 153543 h 179641"/>
                <a:gd name="connsiteX172" fmla="*/ 111062 w 179641"/>
                <a:gd name="connsiteY172" fmla="*/ 153543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79641" h="179641">
                  <a:moveTo>
                    <a:pt x="154972" y="151638"/>
                  </a:moveTo>
                  <a:cubicBezTo>
                    <a:pt x="138589" y="168878"/>
                    <a:pt x="115443" y="179642"/>
                    <a:pt x="89821" y="179642"/>
                  </a:cubicBezTo>
                  <a:cubicBezTo>
                    <a:pt x="40291" y="179642"/>
                    <a:pt x="0" y="139446"/>
                    <a:pt x="0" y="89821"/>
                  </a:cubicBezTo>
                  <a:cubicBezTo>
                    <a:pt x="0" y="40291"/>
                    <a:pt x="40196" y="0"/>
                    <a:pt x="89821" y="0"/>
                  </a:cubicBezTo>
                  <a:cubicBezTo>
                    <a:pt x="113062" y="0"/>
                    <a:pt x="134303" y="8858"/>
                    <a:pt x="150304" y="23432"/>
                  </a:cubicBezTo>
                  <a:lnTo>
                    <a:pt x="111157" y="23432"/>
                  </a:lnTo>
                  <a:lnTo>
                    <a:pt x="111062" y="19050"/>
                  </a:lnTo>
                  <a:lnTo>
                    <a:pt x="49530" y="19050"/>
                  </a:lnTo>
                  <a:lnTo>
                    <a:pt x="49530" y="23432"/>
                  </a:lnTo>
                  <a:lnTo>
                    <a:pt x="48768" y="23432"/>
                  </a:lnTo>
                  <a:cubicBezTo>
                    <a:pt x="48768" y="23432"/>
                    <a:pt x="40672" y="23432"/>
                    <a:pt x="40672" y="30480"/>
                  </a:cubicBezTo>
                  <a:cubicBezTo>
                    <a:pt x="40672" y="37243"/>
                    <a:pt x="48578" y="37243"/>
                    <a:pt x="48578" y="37243"/>
                  </a:cubicBezTo>
                  <a:lnTo>
                    <a:pt x="99155" y="37243"/>
                  </a:lnTo>
                  <a:lnTo>
                    <a:pt x="99155" y="37338"/>
                  </a:lnTo>
                  <a:lnTo>
                    <a:pt x="113729" y="37243"/>
                  </a:lnTo>
                  <a:cubicBezTo>
                    <a:pt x="113729" y="37243"/>
                    <a:pt x="117538" y="37243"/>
                    <a:pt x="117538" y="40100"/>
                  </a:cubicBezTo>
                  <a:cubicBezTo>
                    <a:pt x="117538" y="42958"/>
                    <a:pt x="113729" y="42577"/>
                    <a:pt x="113729" y="42577"/>
                  </a:cubicBezTo>
                  <a:lnTo>
                    <a:pt x="110966" y="42577"/>
                  </a:lnTo>
                  <a:lnTo>
                    <a:pt x="111062" y="39053"/>
                  </a:lnTo>
                  <a:lnTo>
                    <a:pt x="49530" y="39053"/>
                  </a:lnTo>
                  <a:lnTo>
                    <a:pt x="49435" y="42577"/>
                  </a:lnTo>
                  <a:lnTo>
                    <a:pt x="48673" y="42577"/>
                  </a:lnTo>
                  <a:cubicBezTo>
                    <a:pt x="48673" y="42577"/>
                    <a:pt x="40576" y="42577"/>
                    <a:pt x="40576" y="49625"/>
                  </a:cubicBezTo>
                  <a:cubicBezTo>
                    <a:pt x="40576" y="56388"/>
                    <a:pt x="48482" y="56388"/>
                    <a:pt x="48482" y="56388"/>
                  </a:cubicBezTo>
                  <a:lnTo>
                    <a:pt x="99060" y="56388"/>
                  </a:lnTo>
                  <a:lnTo>
                    <a:pt x="99060" y="56483"/>
                  </a:lnTo>
                  <a:lnTo>
                    <a:pt x="113633" y="56388"/>
                  </a:lnTo>
                  <a:cubicBezTo>
                    <a:pt x="113633" y="56388"/>
                    <a:pt x="117443" y="56388"/>
                    <a:pt x="117443" y="59246"/>
                  </a:cubicBezTo>
                  <a:cubicBezTo>
                    <a:pt x="117443" y="62103"/>
                    <a:pt x="113633" y="61722"/>
                    <a:pt x="113633" y="61722"/>
                  </a:cubicBezTo>
                  <a:lnTo>
                    <a:pt x="110871" y="61722"/>
                  </a:lnTo>
                  <a:lnTo>
                    <a:pt x="110871" y="58484"/>
                  </a:lnTo>
                  <a:lnTo>
                    <a:pt x="49340" y="58484"/>
                  </a:lnTo>
                  <a:lnTo>
                    <a:pt x="49340" y="61722"/>
                  </a:lnTo>
                  <a:lnTo>
                    <a:pt x="48673" y="61722"/>
                  </a:lnTo>
                  <a:cubicBezTo>
                    <a:pt x="48673" y="61722"/>
                    <a:pt x="40576" y="61722"/>
                    <a:pt x="40576" y="68771"/>
                  </a:cubicBezTo>
                  <a:cubicBezTo>
                    <a:pt x="40576" y="75533"/>
                    <a:pt x="48482" y="75533"/>
                    <a:pt x="48482" y="75533"/>
                  </a:cubicBezTo>
                  <a:lnTo>
                    <a:pt x="113633" y="75533"/>
                  </a:lnTo>
                  <a:lnTo>
                    <a:pt x="113633" y="75438"/>
                  </a:lnTo>
                  <a:cubicBezTo>
                    <a:pt x="113633" y="75438"/>
                    <a:pt x="117443" y="75438"/>
                    <a:pt x="117443" y="78296"/>
                  </a:cubicBezTo>
                  <a:cubicBezTo>
                    <a:pt x="117443" y="81153"/>
                    <a:pt x="113633" y="80772"/>
                    <a:pt x="113633" y="80772"/>
                  </a:cubicBezTo>
                  <a:lnTo>
                    <a:pt x="110776" y="80772"/>
                  </a:lnTo>
                  <a:lnTo>
                    <a:pt x="110776" y="77438"/>
                  </a:lnTo>
                  <a:lnTo>
                    <a:pt x="49244" y="77438"/>
                  </a:lnTo>
                  <a:lnTo>
                    <a:pt x="49244" y="80772"/>
                  </a:lnTo>
                  <a:lnTo>
                    <a:pt x="48578" y="80772"/>
                  </a:lnTo>
                  <a:cubicBezTo>
                    <a:pt x="48578" y="80772"/>
                    <a:pt x="40481" y="80772"/>
                    <a:pt x="40481" y="87821"/>
                  </a:cubicBezTo>
                  <a:cubicBezTo>
                    <a:pt x="40481" y="94583"/>
                    <a:pt x="48387" y="94583"/>
                    <a:pt x="48387" y="94583"/>
                  </a:cubicBezTo>
                  <a:lnTo>
                    <a:pt x="113538" y="94583"/>
                  </a:lnTo>
                  <a:lnTo>
                    <a:pt x="113538" y="94488"/>
                  </a:lnTo>
                  <a:cubicBezTo>
                    <a:pt x="113538" y="94488"/>
                    <a:pt x="117348" y="94488"/>
                    <a:pt x="117348" y="97346"/>
                  </a:cubicBezTo>
                  <a:cubicBezTo>
                    <a:pt x="117348" y="100203"/>
                    <a:pt x="113538" y="99822"/>
                    <a:pt x="113538" y="99822"/>
                  </a:cubicBezTo>
                  <a:lnTo>
                    <a:pt x="110680" y="99822"/>
                  </a:lnTo>
                  <a:lnTo>
                    <a:pt x="110680" y="96488"/>
                  </a:lnTo>
                  <a:lnTo>
                    <a:pt x="49149" y="96488"/>
                  </a:lnTo>
                  <a:lnTo>
                    <a:pt x="49149" y="99822"/>
                  </a:lnTo>
                  <a:lnTo>
                    <a:pt x="48482" y="99822"/>
                  </a:lnTo>
                  <a:cubicBezTo>
                    <a:pt x="48482" y="99822"/>
                    <a:pt x="40386" y="99822"/>
                    <a:pt x="40386" y="106871"/>
                  </a:cubicBezTo>
                  <a:cubicBezTo>
                    <a:pt x="40386" y="113633"/>
                    <a:pt x="48292" y="113633"/>
                    <a:pt x="48292" y="113633"/>
                  </a:cubicBezTo>
                  <a:lnTo>
                    <a:pt x="98870" y="113633"/>
                  </a:lnTo>
                  <a:lnTo>
                    <a:pt x="98870" y="113633"/>
                  </a:lnTo>
                  <a:lnTo>
                    <a:pt x="100108" y="113633"/>
                  </a:lnTo>
                  <a:lnTo>
                    <a:pt x="113443" y="113633"/>
                  </a:lnTo>
                  <a:lnTo>
                    <a:pt x="113443" y="113538"/>
                  </a:lnTo>
                  <a:cubicBezTo>
                    <a:pt x="113443" y="113538"/>
                    <a:pt x="117253" y="113538"/>
                    <a:pt x="117253" y="116396"/>
                  </a:cubicBezTo>
                  <a:cubicBezTo>
                    <a:pt x="117253" y="119253"/>
                    <a:pt x="113443" y="118872"/>
                    <a:pt x="113443" y="118872"/>
                  </a:cubicBezTo>
                  <a:lnTo>
                    <a:pt x="110585" y="118872"/>
                  </a:lnTo>
                  <a:lnTo>
                    <a:pt x="110585" y="115443"/>
                  </a:lnTo>
                  <a:lnTo>
                    <a:pt x="49054" y="115443"/>
                  </a:lnTo>
                  <a:lnTo>
                    <a:pt x="49054" y="118872"/>
                  </a:lnTo>
                  <a:lnTo>
                    <a:pt x="48387" y="118872"/>
                  </a:lnTo>
                  <a:cubicBezTo>
                    <a:pt x="48387" y="118872"/>
                    <a:pt x="40291" y="118872"/>
                    <a:pt x="40291" y="125921"/>
                  </a:cubicBezTo>
                  <a:cubicBezTo>
                    <a:pt x="40291" y="132683"/>
                    <a:pt x="48196" y="132683"/>
                    <a:pt x="48196" y="132683"/>
                  </a:cubicBezTo>
                  <a:lnTo>
                    <a:pt x="113348" y="132683"/>
                  </a:lnTo>
                  <a:lnTo>
                    <a:pt x="113348" y="132588"/>
                  </a:lnTo>
                  <a:cubicBezTo>
                    <a:pt x="113348" y="132588"/>
                    <a:pt x="117158" y="132588"/>
                    <a:pt x="117158" y="135446"/>
                  </a:cubicBezTo>
                  <a:cubicBezTo>
                    <a:pt x="117158" y="138303"/>
                    <a:pt x="113348" y="137922"/>
                    <a:pt x="113348" y="137922"/>
                  </a:cubicBezTo>
                  <a:lnTo>
                    <a:pt x="110490" y="137922"/>
                  </a:lnTo>
                  <a:lnTo>
                    <a:pt x="110490" y="134588"/>
                  </a:lnTo>
                  <a:lnTo>
                    <a:pt x="48958" y="134588"/>
                  </a:lnTo>
                  <a:lnTo>
                    <a:pt x="48958" y="137922"/>
                  </a:lnTo>
                  <a:lnTo>
                    <a:pt x="48292" y="137922"/>
                  </a:lnTo>
                  <a:cubicBezTo>
                    <a:pt x="48292" y="137922"/>
                    <a:pt x="40196" y="137922"/>
                    <a:pt x="40196" y="144971"/>
                  </a:cubicBezTo>
                  <a:cubicBezTo>
                    <a:pt x="40196" y="151733"/>
                    <a:pt x="48101" y="151733"/>
                    <a:pt x="48101" y="151733"/>
                  </a:cubicBezTo>
                  <a:lnTo>
                    <a:pt x="154972" y="151733"/>
                  </a:lnTo>
                  <a:lnTo>
                    <a:pt x="154972" y="151638"/>
                  </a:lnTo>
                  <a:close/>
                  <a:moveTo>
                    <a:pt x="154686" y="27813"/>
                  </a:moveTo>
                  <a:cubicBezTo>
                    <a:pt x="170117" y="43910"/>
                    <a:pt x="179642" y="65818"/>
                    <a:pt x="179642" y="89821"/>
                  </a:cubicBezTo>
                  <a:cubicBezTo>
                    <a:pt x="179642" y="111728"/>
                    <a:pt x="171736" y="131826"/>
                    <a:pt x="158687" y="147352"/>
                  </a:cubicBezTo>
                  <a:lnTo>
                    <a:pt x="48768" y="147352"/>
                  </a:lnTo>
                  <a:cubicBezTo>
                    <a:pt x="48768" y="147352"/>
                    <a:pt x="44958" y="147447"/>
                    <a:pt x="44863" y="144780"/>
                  </a:cubicBezTo>
                  <a:cubicBezTo>
                    <a:pt x="44767" y="142018"/>
                    <a:pt x="48768" y="142113"/>
                    <a:pt x="48768" y="142113"/>
                  </a:cubicBezTo>
                  <a:lnTo>
                    <a:pt x="49530" y="142113"/>
                  </a:lnTo>
                  <a:lnTo>
                    <a:pt x="49530" y="145447"/>
                  </a:lnTo>
                  <a:lnTo>
                    <a:pt x="111062" y="145447"/>
                  </a:lnTo>
                  <a:lnTo>
                    <a:pt x="111062" y="142113"/>
                  </a:lnTo>
                  <a:lnTo>
                    <a:pt x="113919" y="142113"/>
                  </a:lnTo>
                  <a:cubicBezTo>
                    <a:pt x="113919" y="142113"/>
                    <a:pt x="121825" y="142113"/>
                    <a:pt x="121825" y="135255"/>
                  </a:cubicBezTo>
                  <a:cubicBezTo>
                    <a:pt x="121825" y="128302"/>
                    <a:pt x="113919" y="128302"/>
                    <a:pt x="113919" y="128302"/>
                  </a:cubicBezTo>
                  <a:lnTo>
                    <a:pt x="99536" y="128302"/>
                  </a:lnTo>
                  <a:lnTo>
                    <a:pt x="99536" y="128397"/>
                  </a:lnTo>
                  <a:lnTo>
                    <a:pt x="48863" y="128397"/>
                  </a:lnTo>
                  <a:cubicBezTo>
                    <a:pt x="48863" y="128397"/>
                    <a:pt x="45053" y="128492"/>
                    <a:pt x="44958" y="125825"/>
                  </a:cubicBezTo>
                  <a:cubicBezTo>
                    <a:pt x="44863" y="123063"/>
                    <a:pt x="48863" y="123158"/>
                    <a:pt x="48863" y="123158"/>
                  </a:cubicBezTo>
                  <a:lnTo>
                    <a:pt x="49625" y="123158"/>
                  </a:lnTo>
                  <a:lnTo>
                    <a:pt x="49625" y="126397"/>
                  </a:lnTo>
                  <a:lnTo>
                    <a:pt x="111157" y="126397"/>
                  </a:lnTo>
                  <a:lnTo>
                    <a:pt x="111157" y="123158"/>
                  </a:lnTo>
                  <a:lnTo>
                    <a:pt x="114014" y="123158"/>
                  </a:lnTo>
                  <a:cubicBezTo>
                    <a:pt x="114014" y="123158"/>
                    <a:pt x="121920" y="123158"/>
                    <a:pt x="121920" y="116300"/>
                  </a:cubicBezTo>
                  <a:cubicBezTo>
                    <a:pt x="121920" y="109347"/>
                    <a:pt x="114014" y="109347"/>
                    <a:pt x="114014" y="109347"/>
                  </a:cubicBezTo>
                  <a:lnTo>
                    <a:pt x="99632" y="109347"/>
                  </a:lnTo>
                  <a:lnTo>
                    <a:pt x="99632" y="109347"/>
                  </a:lnTo>
                  <a:lnTo>
                    <a:pt x="48958" y="109347"/>
                  </a:lnTo>
                  <a:cubicBezTo>
                    <a:pt x="48958" y="109347"/>
                    <a:pt x="45149" y="109442"/>
                    <a:pt x="45053" y="106775"/>
                  </a:cubicBezTo>
                  <a:cubicBezTo>
                    <a:pt x="44958" y="104013"/>
                    <a:pt x="48958" y="104108"/>
                    <a:pt x="48958" y="104108"/>
                  </a:cubicBezTo>
                  <a:lnTo>
                    <a:pt x="49721" y="104108"/>
                  </a:lnTo>
                  <a:lnTo>
                    <a:pt x="49721" y="107442"/>
                  </a:lnTo>
                  <a:lnTo>
                    <a:pt x="111252" y="107442"/>
                  </a:lnTo>
                  <a:lnTo>
                    <a:pt x="111252" y="104108"/>
                  </a:lnTo>
                  <a:lnTo>
                    <a:pt x="114109" y="104108"/>
                  </a:lnTo>
                  <a:cubicBezTo>
                    <a:pt x="114109" y="104108"/>
                    <a:pt x="122015" y="104108"/>
                    <a:pt x="122015" y="97250"/>
                  </a:cubicBezTo>
                  <a:cubicBezTo>
                    <a:pt x="122015" y="90297"/>
                    <a:pt x="114109" y="90297"/>
                    <a:pt x="114109" y="90297"/>
                  </a:cubicBezTo>
                  <a:lnTo>
                    <a:pt x="99727" y="90297"/>
                  </a:lnTo>
                  <a:lnTo>
                    <a:pt x="99727" y="90392"/>
                  </a:lnTo>
                  <a:lnTo>
                    <a:pt x="49054" y="90392"/>
                  </a:lnTo>
                  <a:cubicBezTo>
                    <a:pt x="49054" y="90392"/>
                    <a:pt x="45244" y="90488"/>
                    <a:pt x="45149" y="87821"/>
                  </a:cubicBezTo>
                  <a:cubicBezTo>
                    <a:pt x="45053" y="85058"/>
                    <a:pt x="49054" y="85154"/>
                    <a:pt x="49054" y="85154"/>
                  </a:cubicBezTo>
                  <a:lnTo>
                    <a:pt x="49816" y="85154"/>
                  </a:lnTo>
                  <a:lnTo>
                    <a:pt x="49816" y="88583"/>
                  </a:lnTo>
                  <a:lnTo>
                    <a:pt x="111347" y="88583"/>
                  </a:lnTo>
                  <a:lnTo>
                    <a:pt x="111347" y="85154"/>
                  </a:lnTo>
                  <a:lnTo>
                    <a:pt x="114205" y="85154"/>
                  </a:lnTo>
                  <a:cubicBezTo>
                    <a:pt x="114205" y="85154"/>
                    <a:pt x="122111" y="85154"/>
                    <a:pt x="122111" y="78296"/>
                  </a:cubicBezTo>
                  <a:cubicBezTo>
                    <a:pt x="122111" y="71342"/>
                    <a:pt x="114205" y="71342"/>
                    <a:pt x="114205" y="71342"/>
                  </a:cubicBezTo>
                  <a:lnTo>
                    <a:pt x="99822" y="71342"/>
                  </a:lnTo>
                  <a:lnTo>
                    <a:pt x="99822" y="71342"/>
                  </a:lnTo>
                  <a:lnTo>
                    <a:pt x="49149" y="71342"/>
                  </a:lnTo>
                  <a:cubicBezTo>
                    <a:pt x="49149" y="71342"/>
                    <a:pt x="45339" y="71438"/>
                    <a:pt x="45244" y="68771"/>
                  </a:cubicBezTo>
                  <a:cubicBezTo>
                    <a:pt x="45149" y="66008"/>
                    <a:pt x="49149" y="66104"/>
                    <a:pt x="49149" y="66104"/>
                  </a:cubicBezTo>
                  <a:lnTo>
                    <a:pt x="49911" y="66104"/>
                  </a:lnTo>
                  <a:lnTo>
                    <a:pt x="49911" y="69342"/>
                  </a:lnTo>
                  <a:lnTo>
                    <a:pt x="111442" y="69342"/>
                  </a:lnTo>
                  <a:lnTo>
                    <a:pt x="111442" y="66104"/>
                  </a:lnTo>
                  <a:lnTo>
                    <a:pt x="114205" y="66104"/>
                  </a:lnTo>
                  <a:cubicBezTo>
                    <a:pt x="114205" y="66104"/>
                    <a:pt x="122111" y="66104"/>
                    <a:pt x="122111" y="59246"/>
                  </a:cubicBezTo>
                  <a:cubicBezTo>
                    <a:pt x="122111" y="52578"/>
                    <a:pt x="114871" y="52292"/>
                    <a:pt x="114205" y="52292"/>
                  </a:cubicBezTo>
                  <a:lnTo>
                    <a:pt x="114205" y="52197"/>
                  </a:lnTo>
                  <a:lnTo>
                    <a:pt x="49054" y="52197"/>
                  </a:lnTo>
                  <a:cubicBezTo>
                    <a:pt x="49054" y="52197"/>
                    <a:pt x="45244" y="52292"/>
                    <a:pt x="45149" y="49625"/>
                  </a:cubicBezTo>
                  <a:cubicBezTo>
                    <a:pt x="45053" y="46863"/>
                    <a:pt x="49054" y="46958"/>
                    <a:pt x="49054" y="46958"/>
                  </a:cubicBezTo>
                  <a:lnTo>
                    <a:pt x="49816" y="46958"/>
                  </a:lnTo>
                  <a:lnTo>
                    <a:pt x="49721" y="50387"/>
                  </a:lnTo>
                  <a:lnTo>
                    <a:pt x="111252" y="50387"/>
                  </a:lnTo>
                  <a:lnTo>
                    <a:pt x="111347" y="46958"/>
                  </a:lnTo>
                  <a:lnTo>
                    <a:pt x="114205" y="46958"/>
                  </a:lnTo>
                  <a:cubicBezTo>
                    <a:pt x="114205" y="46958"/>
                    <a:pt x="122111" y="46958"/>
                    <a:pt x="122111" y="40100"/>
                  </a:cubicBezTo>
                  <a:cubicBezTo>
                    <a:pt x="122111" y="33433"/>
                    <a:pt x="114871" y="33147"/>
                    <a:pt x="114205" y="33147"/>
                  </a:cubicBezTo>
                  <a:lnTo>
                    <a:pt x="114205" y="33052"/>
                  </a:lnTo>
                  <a:lnTo>
                    <a:pt x="49054" y="33052"/>
                  </a:lnTo>
                  <a:cubicBezTo>
                    <a:pt x="49054" y="33052"/>
                    <a:pt x="45244" y="33147"/>
                    <a:pt x="45149" y="30480"/>
                  </a:cubicBezTo>
                  <a:cubicBezTo>
                    <a:pt x="45053" y="27718"/>
                    <a:pt x="49054" y="27813"/>
                    <a:pt x="49054" y="27813"/>
                  </a:cubicBezTo>
                  <a:lnTo>
                    <a:pt x="49911" y="27813"/>
                  </a:lnTo>
                  <a:lnTo>
                    <a:pt x="49911" y="30956"/>
                  </a:lnTo>
                  <a:lnTo>
                    <a:pt x="111442" y="30956"/>
                  </a:lnTo>
                  <a:lnTo>
                    <a:pt x="111442" y="27813"/>
                  </a:lnTo>
                  <a:lnTo>
                    <a:pt x="154686" y="27813"/>
                  </a:lnTo>
                  <a:lnTo>
                    <a:pt x="154686" y="27813"/>
                  </a:lnTo>
                  <a:close/>
                  <a:moveTo>
                    <a:pt x="111062" y="153543"/>
                  </a:moveTo>
                  <a:lnTo>
                    <a:pt x="111062" y="160592"/>
                  </a:lnTo>
                  <a:lnTo>
                    <a:pt x="49530" y="160592"/>
                  </a:lnTo>
                  <a:lnTo>
                    <a:pt x="49530" y="153543"/>
                  </a:lnTo>
                  <a:lnTo>
                    <a:pt x="111062" y="153543"/>
                  </a:lnTo>
                  <a:lnTo>
                    <a:pt x="111062" y="153543"/>
                  </a:lnTo>
                  <a:close/>
                </a:path>
              </a:pathLst>
            </a:custGeom>
            <a:solidFill>
              <a:srgbClr val="CF892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05" name="Freihandform: Form 1204">
              <a:extLst>
                <a:ext uri="{FF2B5EF4-FFF2-40B4-BE49-F238E27FC236}">
                  <a16:creationId xmlns:a16="http://schemas.microsoft.com/office/drawing/2014/main" id="{06ECB6EE-9865-824B-7B00-BF454B0C5DCF}"/>
                </a:ext>
              </a:extLst>
            </p:cNvPr>
            <p:cNvSpPr/>
            <p:nvPr/>
          </p:nvSpPr>
          <p:spPr>
            <a:xfrm>
              <a:off x="5423346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3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  <a:gd name="connsiteX5" fmla="*/ 213360 w 213359"/>
                <a:gd name="connsiteY5" fmla="*/ 109061 h 218122"/>
                <a:gd name="connsiteX6" fmla="*/ 201073 w 213359"/>
                <a:gd name="connsiteY6" fmla="*/ 109061 h 218122"/>
                <a:gd name="connsiteX7" fmla="*/ 106585 w 213359"/>
                <a:gd name="connsiteY7" fmla="*/ 202787 h 218122"/>
                <a:gd name="connsiteX8" fmla="*/ 12097 w 213359"/>
                <a:gd name="connsiteY8" fmla="*/ 109061 h 218122"/>
                <a:gd name="connsiteX9" fmla="*/ 106585 w 213359"/>
                <a:gd name="connsiteY9" fmla="*/ 15335 h 218122"/>
                <a:gd name="connsiteX10" fmla="*/ 201073 w 213359"/>
                <a:gd name="connsiteY10" fmla="*/ 109061 h 218122"/>
                <a:gd name="connsiteX11" fmla="*/ 201073 w 213359"/>
                <a:gd name="connsiteY11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59"/>
                    <a:pt x="165544" y="218123"/>
                    <a:pt x="106680" y="218123"/>
                  </a:cubicBezTo>
                  <a:cubicBezTo>
                    <a:pt x="47815" y="218123"/>
                    <a:pt x="0" y="169259"/>
                    <a:pt x="0" y="109061"/>
                  </a:cubicBezTo>
                  <a:cubicBezTo>
                    <a:pt x="0" y="48863"/>
                    <a:pt x="47815" y="0"/>
                    <a:pt x="106680" y="0"/>
                  </a:cubicBezTo>
                  <a:cubicBezTo>
                    <a:pt x="165544" y="0"/>
                    <a:pt x="213360" y="48863"/>
                    <a:pt x="213360" y="109061"/>
                  </a:cubicBezTo>
                  <a:lnTo>
                    <a:pt x="213360" y="109061"/>
                  </a:lnTo>
                  <a:close/>
                  <a:moveTo>
                    <a:pt x="201073" y="109061"/>
                  </a:moveTo>
                  <a:cubicBezTo>
                    <a:pt x="201073" y="160782"/>
                    <a:pt x="158782" y="202787"/>
                    <a:pt x="106585" y="202787"/>
                  </a:cubicBezTo>
                  <a:cubicBezTo>
                    <a:pt x="54388" y="202787"/>
                    <a:pt x="12097" y="160782"/>
                    <a:pt x="12097" y="109061"/>
                  </a:cubicBezTo>
                  <a:cubicBezTo>
                    <a:pt x="12097" y="57341"/>
                    <a:pt x="54388" y="15335"/>
                    <a:pt x="106585" y="15335"/>
                  </a:cubicBezTo>
                  <a:cubicBezTo>
                    <a:pt x="158782" y="15335"/>
                    <a:pt x="201073" y="57245"/>
                    <a:pt x="201073" y="109061"/>
                  </a:cubicBezTo>
                  <a:lnTo>
                    <a:pt x="201073" y="10906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1206" name="Grafik 199">
            <a:extLst>
              <a:ext uri="{FF2B5EF4-FFF2-40B4-BE49-F238E27FC236}">
                <a16:creationId xmlns:a16="http://schemas.microsoft.com/office/drawing/2014/main" id="{278F9975-06DB-550C-831F-24A3DA11A56E}"/>
              </a:ext>
            </a:extLst>
          </p:cNvPr>
          <p:cNvGrpSpPr/>
          <p:nvPr/>
        </p:nvGrpSpPr>
        <p:grpSpPr>
          <a:xfrm rot="16200000">
            <a:off x="2225998" y="3798927"/>
            <a:ext cx="302698" cy="309456"/>
            <a:chOff x="5423344" y="4032228"/>
            <a:chExt cx="213359" cy="218122"/>
          </a:xfrm>
          <a:solidFill>
            <a:srgbClr val="000000"/>
          </a:solidFill>
          <a:effectLst/>
        </p:grpSpPr>
        <p:sp>
          <p:nvSpPr>
            <p:cNvPr id="1207" name="Freihandform: Form 1206">
              <a:extLst>
                <a:ext uri="{FF2B5EF4-FFF2-40B4-BE49-F238E27FC236}">
                  <a16:creationId xmlns:a16="http://schemas.microsoft.com/office/drawing/2014/main" id="{AE4D8E21-C94A-8426-2370-5D025B64E085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2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94"/>
                    <a:pt x="165598" y="218122"/>
                    <a:pt x="106680" y="218122"/>
                  </a:cubicBezTo>
                  <a:cubicBezTo>
                    <a:pt x="47762" y="218122"/>
                    <a:pt x="0" y="169294"/>
                    <a:pt x="0" y="109061"/>
                  </a:cubicBezTo>
                  <a:cubicBezTo>
                    <a:pt x="0" y="48828"/>
                    <a:pt x="47762" y="0"/>
                    <a:pt x="106680" y="0"/>
                  </a:cubicBezTo>
                  <a:cubicBezTo>
                    <a:pt x="165598" y="0"/>
                    <a:pt x="213360" y="48828"/>
                    <a:pt x="213360" y="10906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08" name="Freihandform: Form 1207">
              <a:extLst>
                <a:ext uri="{FF2B5EF4-FFF2-40B4-BE49-F238E27FC236}">
                  <a16:creationId xmlns:a16="http://schemas.microsoft.com/office/drawing/2014/main" id="{46ADAF2B-0F12-B65A-44A0-91EE11C34F9F}"/>
                </a:ext>
              </a:extLst>
            </p:cNvPr>
            <p:cNvSpPr/>
            <p:nvPr/>
          </p:nvSpPr>
          <p:spPr>
            <a:xfrm>
              <a:off x="5440393" y="4051373"/>
              <a:ext cx="179641" cy="179641"/>
            </a:xfrm>
            <a:custGeom>
              <a:avLst/>
              <a:gdLst>
                <a:gd name="connsiteX0" fmla="*/ 154972 w 179641"/>
                <a:gd name="connsiteY0" fmla="*/ 151638 h 179641"/>
                <a:gd name="connsiteX1" fmla="*/ 89821 w 179641"/>
                <a:gd name="connsiteY1" fmla="*/ 179642 h 179641"/>
                <a:gd name="connsiteX2" fmla="*/ 0 w 179641"/>
                <a:gd name="connsiteY2" fmla="*/ 89821 h 179641"/>
                <a:gd name="connsiteX3" fmla="*/ 89821 w 179641"/>
                <a:gd name="connsiteY3" fmla="*/ 0 h 179641"/>
                <a:gd name="connsiteX4" fmla="*/ 150304 w 179641"/>
                <a:gd name="connsiteY4" fmla="*/ 23432 h 179641"/>
                <a:gd name="connsiteX5" fmla="*/ 111157 w 179641"/>
                <a:gd name="connsiteY5" fmla="*/ 23432 h 179641"/>
                <a:gd name="connsiteX6" fmla="*/ 111062 w 179641"/>
                <a:gd name="connsiteY6" fmla="*/ 19050 h 179641"/>
                <a:gd name="connsiteX7" fmla="*/ 49530 w 179641"/>
                <a:gd name="connsiteY7" fmla="*/ 19050 h 179641"/>
                <a:gd name="connsiteX8" fmla="*/ 49530 w 179641"/>
                <a:gd name="connsiteY8" fmla="*/ 23432 h 179641"/>
                <a:gd name="connsiteX9" fmla="*/ 48768 w 179641"/>
                <a:gd name="connsiteY9" fmla="*/ 23432 h 179641"/>
                <a:gd name="connsiteX10" fmla="*/ 40672 w 179641"/>
                <a:gd name="connsiteY10" fmla="*/ 30480 h 179641"/>
                <a:gd name="connsiteX11" fmla="*/ 48578 w 179641"/>
                <a:gd name="connsiteY11" fmla="*/ 37243 h 179641"/>
                <a:gd name="connsiteX12" fmla="*/ 99155 w 179641"/>
                <a:gd name="connsiteY12" fmla="*/ 37243 h 179641"/>
                <a:gd name="connsiteX13" fmla="*/ 99155 w 179641"/>
                <a:gd name="connsiteY13" fmla="*/ 37338 h 179641"/>
                <a:gd name="connsiteX14" fmla="*/ 113729 w 179641"/>
                <a:gd name="connsiteY14" fmla="*/ 37243 h 179641"/>
                <a:gd name="connsiteX15" fmla="*/ 117538 w 179641"/>
                <a:gd name="connsiteY15" fmla="*/ 40100 h 179641"/>
                <a:gd name="connsiteX16" fmla="*/ 113729 w 179641"/>
                <a:gd name="connsiteY16" fmla="*/ 42577 h 179641"/>
                <a:gd name="connsiteX17" fmla="*/ 110966 w 179641"/>
                <a:gd name="connsiteY17" fmla="*/ 42577 h 179641"/>
                <a:gd name="connsiteX18" fmla="*/ 111062 w 179641"/>
                <a:gd name="connsiteY18" fmla="*/ 39053 h 179641"/>
                <a:gd name="connsiteX19" fmla="*/ 49530 w 179641"/>
                <a:gd name="connsiteY19" fmla="*/ 39053 h 179641"/>
                <a:gd name="connsiteX20" fmla="*/ 49435 w 179641"/>
                <a:gd name="connsiteY20" fmla="*/ 42577 h 179641"/>
                <a:gd name="connsiteX21" fmla="*/ 48673 w 179641"/>
                <a:gd name="connsiteY21" fmla="*/ 42577 h 179641"/>
                <a:gd name="connsiteX22" fmla="*/ 40576 w 179641"/>
                <a:gd name="connsiteY22" fmla="*/ 49625 h 179641"/>
                <a:gd name="connsiteX23" fmla="*/ 48482 w 179641"/>
                <a:gd name="connsiteY23" fmla="*/ 56388 h 179641"/>
                <a:gd name="connsiteX24" fmla="*/ 99060 w 179641"/>
                <a:gd name="connsiteY24" fmla="*/ 56388 h 179641"/>
                <a:gd name="connsiteX25" fmla="*/ 99060 w 179641"/>
                <a:gd name="connsiteY25" fmla="*/ 56483 h 179641"/>
                <a:gd name="connsiteX26" fmla="*/ 113633 w 179641"/>
                <a:gd name="connsiteY26" fmla="*/ 56388 h 179641"/>
                <a:gd name="connsiteX27" fmla="*/ 117443 w 179641"/>
                <a:gd name="connsiteY27" fmla="*/ 59246 h 179641"/>
                <a:gd name="connsiteX28" fmla="*/ 113633 w 179641"/>
                <a:gd name="connsiteY28" fmla="*/ 61722 h 179641"/>
                <a:gd name="connsiteX29" fmla="*/ 110871 w 179641"/>
                <a:gd name="connsiteY29" fmla="*/ 61722 h 179641"/>
                <a:gd name="connsiteX30" fmla="*/ 110871 w 179641"/>
                <a:gd name="connsiteY30" fmla="*/ 58484 h 179641"/>
                <a:gd name="connsiteX31" fmla="*/ 49340 w 179641"/>
                <a:gd name="connsiteY31" fmla="*/ 58484 h 179641"/>
                <a:gd name="connsiteX32" fmla="*/ 49340 w 179641"/>
                <a:gd name="connsiteY32" fmla="*/ 61722 h 179641"/>
                <a:gd name="connsiteX33" fmla="*/ 48673 w 179641"/>
                <a:gd name="connsiteY33" fmla="*/ 61722 h 179641"/>
                <a:gd name="connsiteX34" fmla="*/ 40576 w 179641"/>
                <a:gd name="connsiteY34" fmla="*/ 68771 h 179641"/>
                <a:gd name="connsiteX35" fmla="*/ 48482 w 179641"/>
                <a:gd name="connsiteY35" fmla="*/ 75533 h 179641"/>
                <a:gd name="connsiteX36" fmla="*/ 113633 w 179641"/>
                <a:gd name="connsiteY36" fmla="*/ 75533 h 179641"/>
                <a:gd name="connsiteX37" fmla="*/ 113633 w 179641"/>
                <a:gd name="connsiteY37" fmla="*/ 75438 h 179641"/>
                <a:gd name="connsiteX38" fmla="*/ 117443 w 179641"/>
                <a:gd name="connsiteY38" fmla="*/ 78296 h 179641"/>
                <a:gd name="connsiteX39" fmla="*/ 113633 w 179641"/>
                <a:gd name="connsiteY39" fmla="*/ 80772 h 179641"/>
                <a:gd name="connsiteX40" fmla="*/ 110776 w 179641"/>
                <a:gd name="connsiteY40" fmla="*/ 80772 h 179641"/>
                <a:gd name="connsiteX41" fmla="*/ 110776 w 179641"/>
                <a:gd name="connsiteY41" fmla="*/ 77438 h 179641"/>
                <a:gd name="connsiteX42" fmla="*/ 49244 w 179641"/>
                <a:gd name="connsiteY42" fmla="*/ 77438 h 179641"/>
                <a:gd name="connsiteX43" fmla="*/ 49244 w 179641"/>
                <a:gd name="connsiteY43" fmla="*/ 80772 h 179641"/>
                <a:gd name="connsiteX44" fmla="*/ 48578 w 179641"/>
                <a:gd name="connsiteY44" fmla="*/ 80772 h 179641"/>
                <a:gd name="connsiteX45" fmla="*/ 40481 w 179641"/>
                <a:gd name="connsiteY45" fmla="*/ 87821 h 179641"/>
                <a:gd name="connsiteX46" fmla="*/ 48387 w 179641"/>
                <a:gd name="connsiteY46" fmla="*/ 94583 h 179641"/>
                <a:gd name="connsiteX47" fmla="*/ 113538 w 179641"/>
                <a:gd name="connsiteY47" fmla="*/ 94583 h 179641"/>
                <a:gd name="connsiteX48" fmla="*/ 113538 w 179641"/>
                <a:gd name="connsiteY48" fmla="*/ 94488 h 179641"/>
                <a:gd name="connsiteX49" fmla="*/ 117348 w 179641"/>
                <a:gd name="connsiteY49" fmla="*/ 97346 h 179641"/>
                <a:gd name="connsiteX50" fmla="*/ 113538 w 179641"/>
                <a:gd name="connsiteY50" fmla="*/ 99822 h 179641"/>
                <a:gd name="connsiteX51" fmla="*/ 110680 w 179641"/>
                <a:gd name="connsiteY51" fmla="*/ 99822 h 179641"/>
                <a:gd name="connsiteX52" fmla="*/ 110680 w 179641"/>
                <a:gd name="connsiteY52" fmla="*/ 96488 h 179641"/>
                <a:gd name="connsiteX53" fmla="*/ 49149 w 179641"/>
                <a:gd name="connsiteY53" fmla="*/ 96488 h 179641"/>
                <a:gd name="connsiteX54" fmla="*/ 49149 w 179641"/>
                <a:gd name="connsiteY54" fmla="*/ 99822 h 179641"/>
                <a:gd name="connsiteX55" fmla="*/ 48482 w 179641"/>
                <a:gd name="connsiteY55" fmla="*/ 99822 h 179641"/>
                <a:gd name="connsiteX56" fmla="*/ 40386 w 179641"/>
                <a:gd name="connsiteY56" fmla="*/ 106871 h 179641"/>
                <a:gd name="connsiteX57" fmla="*/ 48292 w 179641"/>
                <a:gd name="connsiteY57" fmla="*/ 113633 h 179641"/>
                <a:gd name="connsiteX58" fmla="*/ 98870 w 179641"/>
                <a:gd name="connsiteY58" fmla="*/ 113633 h 179641"/>
                <a:gd name="connsiteX59" fmla="*/ 98870 w 179641"/>
                <a:gd name="connsiteY59" fmla="*/ 113633 h 179641"/>
                <a:gd name="connsiteX60" fmla="*/ 100108 w 179641"/>
                <a:gd name="connsiteY60" fmla="*/ 113633 h 179641"/>
                <a:gd name="connsiteX61" fmla="*/ 113443 w 179641"/>
                <a:gd name="connsiteY61" fmla="*/ 113633 h 179641"/>
                <a:gd name="connsiteX62" fmla="*/ 113443 w 179641"/>
                <a:gd name="connsiteY62" fmla="*/ 113538 h 179641"/>
                <a:gd name="connsiteX63" fmla="*/ 117253 w 179641"/>
                <a:gd name="connsiteY63" fmla="*/ 116396 h 179641"/>
                <a:gd name="connsiteX64" fmla="*/ 113443 w 179641"/>
                <a:gd name="connsiteY64" fmla="*/ 118872 h 179641"/>
                <a:gd name="connsiteX65" fmla="*/ 110585 w 179641"/>
                <a:gd name="connsiteY65" fmla="*/ 118872 h 179641"/>
                <a:gd name="connsiteX66" fmla="*/ 110585 w 179641"/>
                <a:gd name="connsiteY66" fmla="*/ 115443 h 179641"/>
                <a:gd name="connsiteX67" fmla="*/ 49054 w 179641"/>
                <a:gd name="connsiteY67" fmla="*/ 115443 h 179641"/>
                <a:gd name="connsiteX68" fmla="*/ 49054 w 179641"/>
                <a:gd name="connsiteY68" fmla="*/ 118872 h 179641"/>
                <a:gd name="connsiteX69" fmla="*/ 48387 w 179641"/>
                <a:gd name="connsiteY69" fmla="*/ 118872 h 179641"/>
                <a:gd name="connsiteX70" fmla="*/ 40291 w 179641"/>
                <a:gd name="connsiteY70" fmla="*/ 125921 h 179641"/>
                <a:gd name="connsiteX71" fmla="*/ 48196 w 179641"/>
                <a:gd name="connsiteY71" fmla="*/ 132683 h 179641"/>
                <a:gd name="connsiteX72" fmla="*/ 113348 w 179641"/>
                <a:gd name="connsiteY72" fmla="*/ 132683 h 179641"/>
                <a:gd name="connsiteX73" fmla="*/ 113348 w 179641"/>
                <a:gd name="connsiteY73" fmla="*/ 132588 h 179641"/>
                <a:gd name="connsiteX74" fmla="*/ 117158 w 179641"/>
                <a:gd name="connsiteY74" fmla="*/ 135446 h 179641"/>
                <a:gd name="connsiteX75" fmla="*/ 113348 w 179641"/>
                <a:gd name="connsiteY75" fmla="*/ 137922 h 179641"/>
                <a:gd name="connsiteX76" fmla="*/ 110490 w 179641"/>
                <a:gd name="connsiteY76" fmla="*/ 137922 h 179641"/>
                <a:gd name="connsiteX77" fmla="*/ 110490 w 179641"/>
                <a:gd name="connsiteY77" fmla="*/ 134588 h 179641"/>
                <a:gd name="connsiteX78" fmla="*/ 48958 w 179641"/>
                <a:gd name="connsiteY78" fmla="*/ 134588 h 179641"/>
                <a:gd name="connsiteX79" fmla="*/ 48958 w 179641"/>
                <a:gd name="connsiteY79" fmla="*/ 137922 h 179641"/>
                <a:gd name="connsiteX80" fmla="*/ 48292 w 179641"/>
                <a:gd name="connsiteY80" fmla="*/ 137922 h 179641"/>
                <a:gd name="connsiteX81" fmla="*/ 40196 w 179641"/>
                <a:gd name="connsiteY81" fmla="*/ 144971 h 179641"/>
                <a:gd name="connsiteX82" fmla="*/ 48101 w 179641"/>
                <a:gd name="connsiteY82" fmla="*/ 151733 h 179641"/>
                <a:gd name="connsiteX83" fmla="*/ 154972 w 179641"/>
                <a:gd name="connsiteY83" fmla="*/ 151733 h 179641"/>
                <a:gd name="connsiteX84" fmla="*/ 154972 w 179641"/>
                <a:gd name="connsiteY84" fmla="*/ 151638 h 179641"/>
                <a:gd name="connsiteX85" fmla="*/ 154686 w 179641"/>
                <a:gd name="connsiteY85" fmla="*/ 27813 h 179641"/>
                <a:gd name="connsiteX86" fmla="*/ 179642 w 179641"/>
                <a:gd name="connsiteY86" fmla="*/ 89821 h 179641"/>
                <a:gd name="connsiteX87" fmla="*/ 158687 w 179641"/>
                <a:gd name="connsiteY87" fmla="*/ 147352 h 179641"/>
                <a:gd name="connsiteX88" fmla="*/ 48768 w 179641"/>
                <a:gd name="connsiteY88" fmla="*/ 147352 h 179641"/>
                <a:gd name="connsiteX89" fmla="*/ 44863 w 179641"/>
                <a:gd name="connsiteY89" fmla="*/ 144780 h 179641"/>
                <a:gd name="connsiteX90" fmla="*/ 48768 w 179641"/>
                <a:gd name="connsiteY90" fmla="*/ 142113 h 179641"/>
                <a:gd name="connsiteX91" fmla="*/ 49530 w 179641"/>
                <a:gd name="connsiteY91" fmla="*/ 142113 h 179641"/>
                <a:gd name="connsiteX92" fmla="*/ 49530 w 179641"/>
                <a:gd name="connsiteY92" fmla="*/ 145447 h 179641"/>
                <a:gd name="connsiteX93" fmla="*/ 111062 w 179641"/>
                <a:gd name="connsiteY93" fmla="*/ 145447 h 179641"/>
                <a:gd name="connsiteX94" fmla="*/ 111062 w 179641"/>
                <a:gd name="connsiteY94" fmla="*/ 142113 h 179641"/>
                <a:gd name="connsiteX95" fmla="*/ 113919 w 179641"/>
                <a:gd name="connsiteY95" fmla="*/ 142113 h 179641"/>
                <a:gd name="connsiteX96" fmla="*/ 121825 w 179641"/>
                <a:gd name="connsiteY96" fmla="*/ 135255 h 179641"/>
                <a:gd name="connsiteX97" fmla="*/ 113919 w 179641"/>
                <a:gd name="connsiteY97" fmla="*/ 128302 h 179641"/>
                <a:gd name="connsiteX98" fmla="*/ 99536 w 179641"/>
                <a:gd name="connsiteY98" fmla="*/ 128302 h 179641"/>
                <a:gd name="connsiteX99" fmla="*/ 99536 w 179641"/>
                <a:gd name="connsiteY99" fmla="*/ 128397 h 179641"/>
                <a:gd name="connsiteX100" fmla="*/ 48863 w 179641"/>
                <a:gd name="connsiteY100" fmla="*/ 128397 h 179641"/>
                <a:gd name="connsiteX101" fmla="*/ 44958 w 179641"/>
                <a:gd name="connsiteY101" fmla="*/ 125825 h 179641"/>
                <a:gd name="connsiteX102" fmla="*/ 48863 w 179641"/>
                <a:gd name="connsiteY102" fmla="*/ 123158 h 179641"/>
                <a:gd name="connsiteX103" fmla="*/ 49625 w 179641"/>
                <a:gd name="connsiteY103" fmla="*/ 123158 h 179641"/>
                <a:gd name="connsiteX104" fmla="*/ 49625 w 179641"/>
                <a:gd name="connsiteY104" fmla="*/ 126397 h 179641"/>
                <a:gd name="connsiteX105" fmla="*/ 111157 w 179641"/>
                <a:gd name="connsiteY105" fmla="*/ 126397 h 179641"/>
                <a:gd name="connsiteX106" fmla="*/ 111157 w 179641"/>
                <a:gd name="connsiteY106" fmla="*/ 123158 h 179641"/>
                <a:gd name="connsiteX107" fmla="*/ 114014 w 179641"/>
                <a:gd name="connsiteY107" fmla="*/ 123158 h 179641"/>
                <a:gd name="connsiteX108" fmla="*/ 121920 w 179641"/>
                <a:gd name="connsiteY108" fmla="*/ 116300 h 179641"/>
                <a:gd name="connsiteX109" fmla="*/ 114014 w 179641"/>
                <a:gd name="connsiteY109" fmla="*/ 109347 h 179641"/>
                <a:gd name="connsiteX110" fmla="*/ 99632 w 179641"/>
                <a:gd name="connsiteY110" fmla="*/ 109347 h 179641"/>
                <a:gd name="connsiteX111" fmla="*/ 99632 w 179641"/>
                <a:gd name="connsiteY111" fmla="*/ 109347 h 179641"/>
                <a:gd name="connsiteX112" fmla="*/ 48958 w 179641"/>
                <a:gd name="connsiteY112" fmla="*/ 109347 h 179641"/>
                <a:gd name="connsiteX113" fmla="*/ 45053 w 179641"/>
                <a:gd name="connsiteY113" fmla="*/ 106775 h 179641"/>
                <a:gd name="connsiteX114" fmla="*/ 48958 w 179641"/>
                <a:gd name="connsiteY114" fmla="*/ 104108 h 179641"/>
                <a:gd name="connsiteX115" fmla="*/ 49721 w 179641"/>
                <a:gd name="connsiteY115" fmla="*/ 104108 h 179641"/>
                <a:gd name="connsiteX116" fmla="*/ 49721 w 179641"/>
                <a:gd name="connsiteY116" fmla="*/ 107442 h 179641"/>
                <a:gd name="connsiteX117" fmla="*/ 111252 w 179641"/>
                <a:gd name="connsiteY117" fmla="*/ 107442 h 179641"/>
                <a:gd name="connsiteX118" fmla="*/ 111252 w 179641"/>
                <a:gd name="connsiteY118" fmla="*/ 104108 h 179641"/>
                <a:gd name="connsiteX119" fmla="*/ 114109 w 179641"/>
                <a:gd name="connsiteY119" fmla="*/ 104108 h 179641"/>
                <a:gd name="connsiteX120" fmla="*/ 122015 w 179641"/>
                <a:gd name="connsiteY120" fmla="*/ 97250 h 179641"/>
                <a:gd name="connsiteX121" fmla="*/ 114109 w 179641"/>
                <a:gd name="connsiteY121" fmla="*/ 90297 h 179641"/>
                <a:gd name="connsiteX122" fmla="*/ 99727 w 179641"/>
                <a:gd name="connsiteY122" fmla="*/ 90297 h 179641"/>
                <a:gd name="connsiteX123" fmla="*/ 99727 w 179641"/>
                <a:gd name="connsiteY123" fmla="*/ 90392 h 179641"/>
                <a:gd name="connsiteX124" fmla="*/ 49054 w 179641"/>
                <a:gd name="connsiteY124" fmla="*/ 90392 h 179641"/>
                <a:gd name="connsiteX125" fmla="*/ 45149 w 179641"/>
                <a:gd name="connsiteY125" fmla="*/ 87821 h 179641"/>
                <a:gd name="connsiteX126" fmla="*/ 49054 w 179641"/>
                <a:gd name="connsiteY126" fmla="*/ 85154 h 179641"/>
                <a:gd name="connsiteX127" fmla="*/ 49816 w 179641"/>
                <a:gd name="connsiteY127" fmla="*/ 85154 h 179641"/>
                <a:gd name="connsiteX128" fmla="*/ 49816 w 179641"/>
                <a:gd name="connsiteY128" fmla="*/ 88583 h 179641"/>
                <a:gd name="connsiteX129" fmla="*/ 111347 w 179641"/>
                <a:gd name="connsiteY129" fmla="*/ 88583 h 179641"/>
                <a:gd name="connsiteX130" fmla="*/ 111347 w 179641"/>
                <a:gd name="connsiteY130" fmla="*/ 85154 h 179641"/>
                <a:gd name="connsiteX131" fmla="*/ 114205 w 179641"/>
                <a:gd name="connsiteY131" fmla="*/ 85154 h 179641"/>
                <a:gd name="connsiteX132" fmla="*/ 122111 w 179641"/>
                <a:gd name="connsiteY132" fmla="*/ 78296 h 179641"/>
                <a:gd name="connsiteX133" fmla="*/ 114205 w 179641"/>
                <a:gd name="connsiteY133" fmla="*/ 71342 h 179641"/>
                <a:gd name="connsiteX134" fmla="*/ 99822 w 179641"/>
                <a:gd name="connsiteY134" fmla="*/ 71342 h 179641"/>
                <a:gd name="connsiteX135" fmla="*/ 99822 w 179641"/>
                <a:gd name="connsiteY135" fmla="*/ 71342 h 179641"/>
                <a:gd name="connsiteX136" fmla="*/ 49149 w 179641"/>
                <a:gd name="connsiteY136" fmla="*/ 71342 h 179641"/>
                <a:gd name="connsiteX137" fmla="*/ 45244 w 179641"/>
                <a:gd name="connsiteY137" fmla="*/ 68771 h 179641"/>
                <a:gd name="connsiteX138" fmla="*/ 49149 w 179641"/>
                <a:gd name="connsiteY138" fmla="*/ 66104 h 179641"/>
                <a:gd name="connsiteX139" fmla="*/ 49911 w 179641"/>
                <a:gd name="connsiteY139" fmla="*/ 66104 h 179641"/>
                <a:gd name="connsiteX140" fmla="*/ 49911 w 179641"/>
                <a:gd name="connsiteY140" fmla="*/ 69342 h 179641"/>
                <a:gd name="connsiteX141" fmla="*/ 111442 w 179641"/>
                <a:gd name="connsiteY141" fmla="*/ 69342 h 179641"/>
                <a:gd name="connsiteX142" fmla="*/ 111442 w 179641"/>
                <a:gd name="connsiteY142" fmla="*/ 66104 h 179641"/>
                <a:gd name="connsiteX143" fmla="*/ 114205 w 179641"/>
                <a:gd name="connsiteY143" fmla="*/ 66104 h 179641"/>
                <a:gd name="connsiteX144" fmla="*/ 122111 w 179641"/>
                <a:gd name="connsiteY144" fmla="*/ 59246 h 179641"/>
                <a:gd name="connsiteX145" fmla="*/ 114205 w 179641"/>
                <a:gd name="connsiteY145" fmla="*/ 52292 h 179641"/>
                <a:gd name="connsiteX146" fmla="*/ 114205 w 179641"/>
                <a:gd name="connsiteY146" fmla="*/ 52197 h 179641"/>
                <a:gd name="connsiteX147" fmla="*/ 49054 w 179641"/>
                <a:gd name="connsiteY147" fmla="*/ 52197 h 179641"/>
                <a:gd name="connsiteX148" fmla="*/ 45149 w 179641"/>
                <a:gd name="connsiteY148" fmla="*/ 49625 h 179641"/>
                <a:gd name="connsiteX149" fmla="*/ 49054 w 179641"/>
                <a:gd name="connsiteY149" fmla="*/ 46958 h 179641"/>
                <a:gd name="connsiteX150" fmla="*/ 49816 w 179641"/>
                <a:gd name="connsiteY150" fmla="*/ 46958 h 179641"/>
                <a:gd name="connsiteX151" fmla="*/ 49721 w 179641"/>
                <a:gd name="connsiteY151" fmla="*/ 50387 h 179641"/>
                <a:gd name="connsiteX152" fmla="*/ 111252 w 179641"/>
                <a:gd name="connsiteY152" fmla="*/ 50387 h 179641"/>
                <a:gd name="connsiteX153" fmla="*/ 111347 w 179641"/>
                <a:gd name="connsiteY153" fmla="*/ 46958 h 179641"/>
                <a:gd name="connsiteX154" fmla="*/ 114205 w 179641"/>
                <a:gd name="connsiteY154" fmla="*/ 46958 h 179641"/>
                <a:gd name="connsiteX155" fmla="*/ 122111 w 179641"/>
                <a:gd name="connsiteY155" fmla="*/ 40100 h 179641"/>
                <a:gd name="connsiteX156" fmla="*/ 114205 w 179641"/>
                <a:gd name="connsiteY156" fmla="*/ 33147 h 179641"/>
                <a:gd name="connsiteX157" fmla="*/ 114205 w 179641"/>
                <a:gd name="connsiteY157" fmla="*/ 33052 h 179641"/>
                <a:gd name="connsiteX158" fmla="*/ 49054 w 179641"/>
                <a:gd name="connsiteY158" fmla="*/ 33052 h 179641"/>
                <a:gd name="connsiteX159" fmla="*/ 45149 w 179641"/>
                <a:gd name="connsiteY159" fmla="*/ 30480 h 179641"/>
                <a:gd name="connsiteX160" fmla="*/ 49054 w 179641"/>
                <a:gd name="connsiteY160" fmla="*/ 27813 h 179641"/>
                <a:gd name="connsiteX161" fmla="*/ 49911 w 179641"/>
                <a:gd name="connsiteY161" fmla="*/ 27813 h 179641"/>
                <a:gd name="connsiteX162" fmla="*/ 49911 w 179641"/>
                <a:gd name="connsiteY162" fmla="*/ 30956 h 179641"/>
                <a:gd name="connsiteX163" fmla="*/ 111442 w 179641"/>
                <a:gd name="connsiteY163" fmla="*/ 30956 h 179641"/>
                <a:gd name="connsiteX164" fmla="*/ 111442 w 179641"/>
                <a:gd name="connsiteY164" fmla="*/ 27813 h 179641"/>
                <a:gd name="connsiteX165" fmla="*/ 154686 w 179641"/>
                <a:gd name="connsiteY165" fmla="*/ 27813 h 179641"/>
                <a:gd name="connsiteX166" fmla="*/ 154686 w 179641"/>
                <a:gd name="connsiteY166" fmla="*/ 27813 h 179641"/>
                <a:gd name="connsiteX167" fmla="*/ 111062 w 179641"/>
                <a:gd name="connsiteY167" fmla="*/ 153543 h 179641"/>
                <a:gd name="connsiteX168" fmla="*/ 111062 w 179641"/>
                <a:gd name="connsiteY168" fmla="*/ 160592 h 179641"/>
                <a:gd name="connsiteX169" fmla="*/ 49530 w 179641"/>
                <a:gd name="connsiteY169" fmla="*/ 160592 h 179641"/>
                <a:gd name="connsiteX170" fmla="*/ 49530 w 179641"/>
                <a:gd name="connsiteY170" fmla="*/ 153543 h 179641"/>
                <a:gd name="connsiteX171" fmla="*/ 111062 w 179641"/>
                <a:gd name="connsiteY171" fmla="*/ 153543 h 179641"/>
                <a:gd name="connsiteX172" fmla="*/ 111062 w 179641"/>
                <a:gd name="connsiteY172" fmla="*/ 153543 h 17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79641" h="179641">
                  <a:moveTo>
                    <a:pt x="154972" y="151638"/>
                  </a:moveTo>
                  <a:cubicBezTo>
                    <a:pt x="138589" y="168878"/>
                    <a:pt x="115443" y="179642"/>
                    <a:pt x="89821" y="179642"/>
                  </a:cubicBezTo>
                  <a:cubicBezTo>
                    <a:pt x="40291" y="179642"/>
                    <a:pt x="0" y="139446"/>
                    <a:pt x="0" y="89821"/>
                  </a:cubicBezTo>
                  <a:cubicBezTo>
                    <a:pt x="0" y="40291"/>
                    <a:pt x="40196" y="0"/>
                    <a:pt x="89821" y="0"/>
                  </a:cubicBezTo>
                  <a:cubicBezTo>
                    <a:pt x="113062" y="0"/>
                    <a:pt x="134303" y="8858"/>
                    <a:pt x="150304" y="23432"/>
                  </a:cubicBezTo>
                  <a:lnTo>
                    <a:pt x="111157" y="23432"/>
                  </a:lnTo>
                  <a:lnTo>
                    <a:pt x="111062" y="19050"/>
                  </a:lnTo>
                  <a:lnTo>
                    <a:pt x="49530" y="19050"/>
                  </a:lnTo>
                  <a:lnTo>
                    <a:pt x="49530" y="23432"/>
                  </a:lnTo>
                  <a:lnTo>
                    <a:pt x="48768" y="23432"/>
                  </a:lnTo>
                  <a:cubicBezTo>
                    <a:pt x="48768" y="23432"/>
                    <a:pt x="40672" y="23432"/>
                    <a:pt x="40672" y="30480"/>
                  </a:cubicBezTo>
                  <a:cubicBezTo>
                    <a:pt x="40672" y="37243"/>
                    <a:pt x="48578" y="37243"/>
                    <a:pt x="48578" y="37243"/>
                  </a:cubicBezTo>
                  <a:lnTo>
                    <a:pt x="99155" y="37243"/>
                  </a:lnTo>
                  <a:lnTo>
                    <a:pt x="99155" y="37338"/>
                  </a:lnTo>
                  <a:lnTo>
                    <a:pt x="113729" y="37243"/>
                  </a:lnTo>
                  <a:cubicBezTo>
                    <a:pt x="113729" y="37243"/>
                    <a:pt x="117538" y="37243"/>
                    <a:pt x="117538" y="40100"/>
                  </a:cubicBezTo>
                  <a:cubicBezTo>
                    <a:pt x="117538" y="42958"/>
                    <a:pt x="113729" y="42577"/>
                    <a:pt x="113729" y="42577"/>
                  </a:cubicBezTo>
                  <a:lnTo>
                    <a:pt x="110966" y="42577"/>
                  </a:lnTo>
                  <a:lnTo>
                    <a:pt x="111062" y="39053"/>
                  </a:lnTo>
                  <a:lnTo>
                    <a:pt x="49530" y="39053"/>
                  </a:lnTo>
                  <a:lnTo>
                    <a:pt x="49435" y="42577"/>
                  </a:lnTo>
                  <a:lnTo>
                    <a:pt x="48673" y="42577"/>
                  </a:lnTo>
                  <a:cubicBezTo>
                    <a:pt x="48673" y="42577"/>
                    <a:pt x="40576" y="42577"/>
                    <a:pt x="40576" y="49625"/>
                  </a:cubicBezTo>
                  <a:cubicBezTo>
                    <a:pt x="40576" y="56388"/>
                    <a:pt x="48482" y="56388"/>
                    <a:pt x="48482" y="56388"/>
                  </a:cubicBezTo>
                  <a:lnTo>
                    <a:pt x="99060" y="56388"/>
                  </a:lnTo>
                  <a:lnTo>
                    <a:pt x="99060" y="56483"/>
                  </a:lnTo>
                  <a:lnTo>
                    <a:pt x="113633" y="56388"/>
                  </a:lnTo>
                  <a:cubicBezTo>
                    <a:pt x="113633" y="56388"/>
                    <a:pt x="117443" y="56388"/>
                    <a:pt x="117443" y="59246"/>
                  </a:cubicBezTo>
                  <a:cubicBezTo>
                    <a:pt x="117443" y="62103"/>
                    <a:pt x="113633" y="61722"/>
                    <a:pt x="113633" y="61722"/>
                  </a:cubicBezTo>
                  <a:lnTo>
                    <a:pt x="110871" y="61722"/>
                  </a:lnTo>
                  <a:lnTo>
                    <a:pt x="110871" y="58484"/>
                  </a:lnTo>
                  <a:lnTo>
                    <a:pt x="49340" y="58484"/>
                  </a:lnTo>
                  <a:lnTo>
                    <a:pt x="49340" y="61722"/>
                  </a:lnTo>
                  <a:lnTo>
                    <a:pt x="48673" y="61722"/>
                  </a:lnTo>
                  <a:cubicBezTo>
                    <a:pt x="48673" y="61722"/>
                    <a:pt x="40576" y="61722"/>
                    <a:pt x="40576" y="68771"/>
                  </a:cubicBezTo>
                  <a:cubicBezTo>
                    <a:pt x="40576" y="75533"/>
                    <a:pt x="48482" y="75533"/>
                    <a:pt x="48482" y="75533"/>
                  </a:cubicBezTo>
                  <a:lnTo>
                    <a:pt x="113633" y="75533"/>
                  </a:lnTo>
                  <a:lnTo>
                    <a:pt x="113633" y="75438"/>
                  </a:lnTo>
                  <a:cubicBezTo>
                    <a:pt x="113633" y="75438"/>
                    <a:pt x="117443" y="75438"/>
                    <a:pt x="117443" y="78296"/>
                  </a:cubicBezTo>
                  <a:cubicBezTo>
                    <a:pt x="117443" y="81153"/>
                    <a:pt x="113633" y="80772"/>
                    <a:pt x="113633" y="80772"/>
                  </a:cubicBezTo>
                  <a:lnTo>
                    <a:pt x="110776" y="80772"/>
                  </a:lnTo>
                  <a:lnTo>
                    <a:pt x="110776" y="77438"/>
                  </a:lnTo>
                  <a:lnTo>
                    <a:pt x="49244" y="77438"/>
                  </a:lnTo>
                  <a:lnTo>
                    <a:pt x="49244" y="80772"/>
                  </a:lnTo>
                  <a:lnTo>
                    <a:pt x="48578" y="80772"/>
                  </a:lnTo>
                  <a:cubicBezTo>
                    <a:pt x="48578" y="80772"/>
                    <a:pt x="40481" y="80772"/>
                    <a:pt x="40481" y="87821"/>
                  </a:cubicBezTo>
                  <a:cubicBezTo>
                    <a:pt x="40481" y="94583"/>
                    <a:pt x="48387" y="94583"/>
                    <a:pt x="48387" y="94583"/>
                  </a:cubicBezTo>
                  <a:lnTo>
                    <a:pt x="113538" y="94583"/>
                  </a:lnTo>
                  <a:lnTo>
                    <a:pt x="113538" y="94488"/>
                  </a:lnTo>
                  <a:cubicBezTo>
                    <a:pt x="113538" y="94488"/>
                    <a:pt x="117348" y="94488"/>
                    <a:pt x="117348" y="97346"/>
                  </a:cubicBezTo>
                  <a:cubicBezTo>
                    <a:pt x="117348" y="100203"/>
                    <a:pt x="113538" y="99822"/>
                    <a:pt x="113538" y="99822"/>
                  </a:cubicBezTo>
                  <a:lnTo>
                    <a:pt x="110680" y="99822"/>
                  </a:lnTo>
                  <a:lnTo>
                    <a:pt x="110680" y="96488"/>
                  </a:lnTo>
                  <a:lnTo>
                    <a:pt x="49149" y="96488"/>
                  </a:lnTo>
                  <a:lnTo>
                    <a:pt x="49149" y="99822"/>
                  </a:lnTo>
                  <a:lnTo>
                    <a:pt x="48482" y="99822"/>
                  </a:lnTo>
                  <a:cubicBezTo>
                    <a:pt x="48482" y="99822"/>
                    <a:pt x="40386" y="99822"/>
                    <a:pt x="40386" y="106871"/>
                  </a:cubicBezTo>
                  <a:cubicBezTo>
                    <a:pt x="40386" y="113633"/>
                    <a:pt x="48292" y="113633"/>
                    <a:pt x="48292" y="113633"/>
                  </a:cubicBezTo>
                  <a:lnTo>
                    <a:pt x="98870" y="113633"/>
                  </a:lnTo>
                  <a:lnTo>
                    <a:pt x="98870" y="113633"/>
                  </a:lnTo>
                  <a:lnTo>
                    <a:pt x="100108" y="113633"/>
                  </a:lnTo>
                  <a:lnTo>
                    <a:pt x="113443" y="113633"/>
                  </a:lnTo>
                  <a:lnTo>
                    <a:pt x="113443" y="113538"/>
                  </a:lnTo>
                  <a:cubicBezTo>
                    <a:pt x="113443" y="113538"/>
                    <a:pt x="117253" y="113538"/>
                    <a:pt x="117253" y="116396"/>
                  </a:cubicBezTo>
                  <a:cubicBezTo>
                    <a:pt x="117253" y="119253"/>
                    <a:pt x="113443" y="118872"/>
                    <a:pt x="113443" y="118872"/>
                  </a:cubicBezTo>
                  <a:lnTo>
                    <a:pt x="110585" y="118872"/>
                  </a:lnTo>
                  <a:lnTo>
                    <a:pt x="110585" y="115443"/>
                  </a:lnTo>
                  <a:lnTo>
                    <a:pt x="49054" y="115443"/>
                  </a:lnTo>
                  <a:lnTo>
                    <a:pt x="49054" y="118872"/>
                  </a:lnTo>
                  <a:lnTo>
                    <a:pt x="48387" y="118872"/>
                  </a:lnTo>
                  <a:cubicBezTo>
                    <a:pt x="48387" y="118872"/>
                    <a:pt x="40291" y="118872"/>
                    <a:pt x="40291" y="125921"/>
                  </a:cubicBezTo>
                  <a:cubicBezTo>
                    <a:pt x="40291" y="132683"/>
                    <a:pt x="48196" y="132683"/>
                    <a:pt x="48196" y="132683"/>
                  </a:cubicBezTo>
                  <a:lnTo>
                    <a:pt x="113348" y="132683"/>
                  </a:lnTo>
                  <a:lnTo>
                    <a:pt x="113348" y="132588"/>
                  </a:lnTo>
                  <a:cubicBezTo>
                    <a:pt x="113348" y="132588"/>
                    <a:pt x="117158" y="132588"/>
                    <a:pt x="117158" y="135446"/>
                  </a:cubicBezTo>
                  <a:cubicBezTo>
                    <a:pt x="117158" y="138303"/>
                    <a:pt x="113348" y="137922"/>
                    <a:pt x="113348" y="137922"/>
                  </a:cubicBezTo>
                  <a:lnTo>
                    <a:pt x="110490" y="137922"/>
                  </a:lnTo>
                  <a:lnTo>
                    <a:pt x="110490" y="134588"/>
                  </a:lnTo>
                  <a:lnTo>
                    <a:pt x="48958" y="134588"/>
                  </a:lnTo>
                  <a:lnTo>
                    <a:pt x="48958" y="137922"/>
                  </a:lnTo>
                  <a:lnTo>
                    <a:pt x="48292" y="137922"/>
                  </a:lnTo>
                  <a:cubicBezTo>
                    <a:pt x="48292" y="137922"/>
                    <a:pt x="40196" y="137922"/>
                    <a:pt x="40196" y="144971"/>
                  </a:cubicBezTo>
                  <a:cubicBezTo>
                    <a:pt x="40196" y="151733"/>
                    <a:pt x="48101" y="151733"/>
                    <a:pt x="48101" y="151733"/>
                  </a:cubicBezTo>
                  <a:lnTo>
                    <a:pt x="154972" y="151733"/>
                  </a:lnTo>
                  <a:lnTo>
                    <a:pt x="154972" y="151638"/>
                  </a:lnTo>
                  <a:close/>
                  <a:moveTo>
                    <a:pt x="154686" y="27813"/>
                  </a:moveTo>
                  <a:cubicBezTo>
                    <a:pt x="170117" y="43910"/>
                    <a:pt x="179642" y="65818"/>
                    <a:pt x="179642" y="89821"/>
                  </a:cubicBezTo>
                  <a:cubicBezTo>
                    <a:pt x="179642" y="111728"/>
                    <a:pt x="171736" y="131826"/>
                    <a:pt x="158687" y="147352"/>
                  </a:cubicBezTo>
                  <a:lnTo>
                    <a:pt x="48768" y="147352"/>
                  </a:lnTo>
                  <a:cubicBezTo>
                    <a:pt x="48768" y="147352"/>
                    <a:pt x="44958" y="147447"/>
                    <a:pt x="44863" y="144780"/>
                  </a:cubicBezTo>
                  <a:cubicBezTo>
                    <a:pt x="44767" y="142018"/>
                    <a:pt x="48768" y="142113"/>
                    <a:pt x="48768" y="142113"/>
                  </a:cubicBezTo>
                  <a:lnTo>
                    <a:pt x="49530" y="142113"/>
                  </a:lnTo>
                  <a:lnTo>
                    <a:pt x="49530" y="145447"/>
                  </a:lnTo>
                  <a:lnTo>
                    <a:pt x="111062" y="145447"/>
                  </a:lnTo>
                  <a:lnTo>
                    <a:pt x="111062" y="142113"/>
                  </a:lnTo>
                  <a:lnTo>
                    <a:pt x="113919" y="142113"/>
                  </a:lnTo>
                  <a:cubicBezTo>
                    <a:pt x="113919" y="142113"/>
                    <a:pt x="121825" y="142113"/>
                    <a:pt x="121825" y="135255"/>
                  </a:cubicBezTo>
                  <a:cubicBezTo>
                    <a:pt x="121825" y="128302"/>
                    <a:pt x="113919" y="128302"/>
                    <a:pt x="113919" y="128302"/>
                  </a:cubicBezTo>
                  <a:lnTo>
                    <a:pt x="99536" y="128302"/>
                  </a:lnTo>
                  <a:lnTo>
                    <a:pt x="99536" y="128397"/>
                  </a:lnTo>
                  <a:lnTo>
                    <a:pt x="48863" y="128397"/>
                  </a:lnTo>
                  <a:cubicBezTo>
                    <a:pt x="48863" y="128397"/>
                    <a:pt x="45053" y="128492"/>
                    <a:pt x="44958" y="125825"/>
                  </a:cubicBezTo>
                  <a:cubicBezTo>
                    <a:pt x="44863" y="123063"/>
                    <a:pt x="48863" y="123158"/>
                    <a:pt x="48863" y="123158"/>
                  </a:cubicBezTo>
                  <a:lnTo>
                    <a:pt x="49625" y="123158"/>
                  </a:lnTo>
                  <a:lnTo>
                    <a:pt x="49625" y="126397"/>
                  </a:lnTo>
                  <a:lnTo>
                    <a:pt x="111157" y="126397"/>
                  </a:lnTo>
                  <a:lnTo>
                    <a:pt x="111157" y="123158"/>
                  </a:lnTo>
                  <a:lnTo>
                    <a:pt x="114014" y="123158"/>
                  </a:lnTo>
                  <a:cubicBezTo>
                    <a:pt x="114014" y="123158"/>
                    <a:pt x="121920" y="123158"/>
                    <a:pt x="121920" y="116300"/>
                  </a:cubicBezTo>
                  <a:cubicBezTo>
                    <a:pt x="121920" y="109347"/>
                    <a:pt x="114014" y="109347"/>
                    <a:pt x="114014" y="109347"/>
                  </a:cubicBezTo>
                  <a:lnTo>
                    <a:pt x="99632" y="109347"/>
                  </a:lnTo>
                  <a:lnTo>
                    <a:pt x="99632" y="109347"/>
                  </a:lnTo>
                  <a:lnTo>
                    <a:pt x="48958" y="109347"/>
                  </a:lnTo>
                  <a:cubicBezTo>
                    <a:pt x="48958" y="109347"/>
                    <a:pt x="45149" y="109442"/>
                    <a:pt x="45053" y="106775"/>
                  </a:cubicBezTo>
                  <a:cubicBezTo>
                    <a:pt x="44958" y="104013"/>
                    <a:pt x="48958" y="104108"/>
                    <a:pt x="48958" y="104108"/>
                  </a:cubicBezTo>
                  <a:lnTo>
                    <a:pt x="49721" y="104108"/>
                  </a:lnTo>
                  <a:lnTo>
                    <a:pt x="49721" y="107442"/>
                  </a:lnTo>
                  <a:lnTo>
                    <a:pt x="111252" y="107442"/>
                  </a:lnTo>
                  <a:lnTo>
                    <a:pt x="111252" y="104108"/>
                  </a:lnTo>
                  <a:lnTo>
                    <a:pt x="114109" y="104108"/>
                  </a:lnTo>
                  <a:cubicBezTo>
                    <a:pt x="114109" y="104108"/>
                    <a:pt x="122015" y="104108"/>
                    <a:pt x="122015" y="97250"/>
                  </a:cubicBezTo>
                  <a:cubicBezTo>
                    <a:pt x="122015" y="90297"/>
                    <a:pt x="114109" y="90297"/>
                    <a:pt x="114109" y="90297"/>
                  </a:cubicBezTo>
                  <a:lnTo>
                    <a:pt x="99727" y="90297"/>
                  </a:lnTo>
                  <a:lnTo>
                    <a:pt x="99727" y="90392"/>
                  </a:lnTo>
                  <a:lnTo>
                    <a:pt x="49054" y="90392"/>
                  </a:lnTo>
                  <a:cubicBezTo>
                    <a:pt x="49054" y="90392"/>
                    <a:pt x="45244" y="90488"/>
                    <a:pt x="45149" y="87821"/>
                  </a:cubicBezTo>
                  <a:cubicBezTo>
                    <a:pt x="45053" y="85058"/>
                    <a:pt x="49054" y="85154"/>
                    <a:pt x="49054" y="85154"/>
                  </a:cubicBezTo>
                  <a:lnTo>
                    <a:pt x="49816" y="85154"/>
                  </a:lnTo>
                  <a:lnTo>
                    <a:pt x="49816" y="88583"/>
                  </a:lnTo>
                  <a:lnTo>
                    <a:pt x="111347" y="88583"/>
                  </a:lnTo>
                  <a:lnTo>
                    <a:pt x="111347" y="85154"/>
                  </a:lnTo>
                  <a:lnTo>
                    <a:pt x="114205" y="85154"/>
                  </a:lnTo>
                  <a:cubicBezTo>
                    <a:pt x="114205" y="85154"/>
                    <a:pt x="122111" y="85154"/>
                    <a:pt x="122111" y="78296"/>
                  </a:cubicBezTo>
                  <a:cubicBezTo>
                    <a:pt x="122111" y="71342"/>
                    <a:pt x="114205" y="71342"/>
                    <a:pt x="114205" y="71342"/>
                  </a:cubicBezTo>
                  <a:lnTo>
                    <a:pt x="99822" y="71342"/>
                  </a:lnTo>
                  <a:lnTo>
                    <a:pt x="99822" y="71342"/>
                  </a:lnTo>
                  <a:lnTo>
                    <a:pt x="49149" y="71342"/>
                  </a:lnTo>
                  <a:cubicBezTo>
                    <a:pt x="49149" y="71342"/>
                    <a:pt x="45339" y="71438"/>
                    <a:pt x="45244" y="68771"/>
                  </a:cubicBezTo>
                  <a:cubicBezTo>
                    <a:pt x="45149" y="66008"/>
                    <a:pt x="49149" y="66104"/>
                    <a:pt x="49149" y="66104"/>
                  </a:cubicBezTo>
                  <a:lnTo>
                    <a:pt x="49911" y="66104"/>
                  </a:lnTo>
                  <a:lnTo>
                    <a:pt x="49911" y="69342"/>
                  </a:lnTo>
                  <a:lnTo>
                    <a:pt x="111442" y="69342"/>
                  </a:lnTo>
                  <a:lnTo>
                    <a:pt x="111442" y="66104"/>
                  </a:lnTo>
                  <a:lnTo>
                    <a:pt x="114205" y="66104"/>
                  </a:lnTo>
                  <a:cubicBezTo>
                    <a:pt x="114205" y="66104"/>
                    <a:pt x="122111" y="66104"/>
                    <a:pt x="122111" y="59246"/>
                  </a:cubicBezTo>
                  <a:cubicBezTo>
                    <a:pt x="122111" y="52578"/>
                    <a:pt x="114871" y="52292"/>
                    <a:pt x="114205" y="52292"/>
                  </a:cubicBezTo>
                  <a:lnTo>
                    <a:pt x="114205" y="52197"/>
                  </a:lnTo>
                  <a:lnTo>
                    <a:pt x="49054" y="52197"/>
                  </a:lnTo>
                  <a:cubicBezTo>
                    <a:pt x="49054" y="52197"/>
                    <a:pt x="45244" y="52292"/>
                    <a:pt x="45149" y="49625"/>
                  </a:cubicBezTo>
                  <a:cubicBezTo>
                    <a:pt x="45053" y="46863"/>
                    <a:pt x="49054" y="46958"/>
                    <a:pt x="49054" y="46958"/>
                  </a:cubicBezTo>
                  <a:lnTo>
                    <a:pt x="49816" y="46958"/>
                  </a:lnTo>
                  <a:lnTo>
                    <a:pt x="49721" y="50387"/>
                  </a:lnTo>
                  <a:lnTo>
                    <a:pt x="111252" y="50387"/>
                  </a:lnTo>
                  <a:lnTo>
                    <a:pt x="111347" y="46958"/>
                  </a:lnTo>
                  <a:lnTo>
                    <a:pt x="114205" y="46958"/>
                  </a:lnTo>
                  <a:cubicBezTo>
                    <a:pt x="114205" y="46958"/>
                    <a:pt x="122111" y="46958"/>
                    <a:pt x="122111" y="40100"/>
                  </a:cubicBezTo>
                  <a:cubicBezTo>
                    <a:pt x="122111" y="33433"/>
                    <a:pt x="114871" y="33147"/>
                    <a:pt x="114205" y="33147"/>
                  </a:cubicBezTo>
                  <a:lnTo>
                    <a:pt x="114205" y="33052"/>
                  </a:lnTo>
                  <a:lnTo>
                    <a:pt x="49054" y="33052"/>
                  </a:lnTo>
                  <a:cubicBezTo>
                    <a:pt x="49054" y="33052"/>
                    <a:pt x="45244" y="33147"/>
                    <a:pt x="45149" y="30480"/>
                  </a:cubicBezTo>
                  <a:cubicBezTo>
                    <a:pt x="45053" y="27718"/>
                    <a:pt x="49054" y="27813"/>
                    <a:pt x="49054" y="27813"/>
                  </a:cubicBezTo>
                  <a:lnTo>
                    <a:pt x="49911" y="27813"/>
                  </a:lnTo>
                  <a:lnTo>
                    <a:pt x="49911" y="30956"/>
                  </a:lnTo>
                  <a:lnTo>
                    <a:pt x="111442" y="30956"/>
                  </a:lnTo>
                  <a:lnTo>
                    <a:pt x="111442" y="27813"/>
                  </a:lnTo>
                  <a:lnTo>
                    <a:pt x="154686" y="27813"/>
                  </a:lnTo>
                  <a:lnTo>
                    <a:pt x="154686" y="27813"/>
                  </a:lnTo>
                  <a:close/>
                  <a:moveTo>
                    <a:pt x="111062" y="153543"/>
                  </a:moveTo>
                  <a:lnTo>
                    <a:pt x="111062" y="160592"/>
                  </a:lnTo>
                  <a:lnTo>
                    <a:pt x="49530" y="160592"/>
                  </a:lnTo>
                  <a:lnTo>
                    <a:pt x="49530" y="153543"/>
                  </a:lnTo>
                  <a:lnTo>
                    <a:pt x="111062" y="153543"/>
                  </a:lnTo>
                  <a:lnTo>
                    <a:pt x="111062" y="153543"/>
                  </a:ln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  <p:sp>
          <p:nvSpPr>
            <p:cNvPr id="1209" name="Freihandform: Form 1208">
              <a:extLst>
                <a:ext uri="{FF2B5EF4-FFF2-40B4-BE49-F238E27FC236}">
                  <a16:creationId xmlns:a16="http://schemas.microsoft.com/office/drawing/2014/main" id="{68CDF09B-77AA-7CD4-4515-5E04033DF655}"/>
                </a:ext>
              </a:extLst>
            </p:cNvPr>
            <p:cNvSpPr/>
            <p:nvPr/>
          </p:nvSpPr>
          <p:spPr>
            <a:xfrm>
              <a:off x="5423344" y="4032228"/>
              <a:ext cx="213359" cy="218122"/>
            </a:xfrm>
            <a:custGeom>
              <a:avLst/>
              <a:gdLst>
                <a:gd name="connsiteX0" fmla="*/ 213360 w 213359"/>
                <a:gd name="connsiteY0" fmla="*/ 109061 h 218122"/>
                <a:gd name="connsiteX1" fmla="*/ 106680 w 213359"/>
                <a:gd name="connsiteY1" fmla="*/ 218123 h 218122"/>
                <a:gd name="connsiteX2" fmla="*/ 0 w 213359"/>
                <a:gd name="connsiteY2" fmla="*/ 109061 h 218122"/>
                <a:gd name="connsiteX3" fmla="*/ 106680 w 213359"/>
                <a:gd name="connsiteY3" fmla="*/ 0 h 218122"/>
                <a:gd name="connsiteX4" fmla="*/ 213360 w 213359"/>
                <a:gd name="connsiteY4" fmla="*/ 109061 h 218122"/>
                <a:gd name="connsiteX5" fmla="*/ 213360 w 213359"/>
                <a:gd name="connsiteY5" fmla="*/ 109061 h 218122"/>
                <a:gd name="connsiteX6" fmla="*/ 201073 w 213359"/>
                <a:gd name="connsiteY6" fmla="*/ 109061 h 218122"/>
                <a:gd name="connsiteX7" fmla="*/ 106585 w 213359"/>
                <a:gd name="connsiteY7" fmla="*/ 202787 h 218122"/>
                <a:gd name="connsiteX8" fmla="*/ 12097 w 213359"/>
                <a:gd name="connsiteY8" fmla="*/ 109061 h 218122"/>
                <a:gd name="connsiteX9" fmla="*/ 106585 w 213359"/>
                <a:gd name="connsiteY9" fmla="*/ 15335 h 218122"/>
                <a:gd name="connsiteX10" fmla="*/ 201073 w 213359"/>
                <a:gd name="connsiteY10" fmla="*/ 109061 h 218122"/>
                <a:gd name="connsiteX11" fmla="*/ 201073 w 213359"/>
                <a:gd name="connsiteY11" fmla="*/ 109061 h 21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359" h="218122">
                  <a:moveTo>
                    <a:pt x="213360" y="109061"/>
                  </a:moveTo>
                  <a:cubicBezTo>
                    <a:pt x="213360" y="169259"/>
                    <a:pt x="165544" y="218123"/>
                    <a:pt x="106680" y="218123"/>
                  </a:cubicBezTo>
                  <a:cubicBezTo>
                    <a:pt x="47815" y="218123"/>
                    <a:pt x="0" y="169259"/>
                    <a:pt x="0" y="109061"/>
                  </a:cubicBezTo>
                  <a:cubicBezTo>
                    <a:pt x="0" y="48863"/>
                    <a:pt x="47815" y="0"/>
                    <a:pt x="106680" y="0"/>
                  </a:cubicBezTo>
                  <a:cubicBezTo>
                    <a:pt x="165544" y="0"/>
                    <a:pt x="213360" y="48863"/>
                    <a:pt x="213360" y="109061"/>
                  </a:cubicBezTo>
                  <a:lnTo>
                    <a:pt x="213360" y="109061"/>
                  </a:lnTo>
                  <a:close/>
                  <a:moveTo>
                    <a:pt x="201073" y="109061"/>
                  </a:moveTo>
                  <a:cubicBezTo>
                    <a:pt x="201073" y="160782"/>
                    <a:pt x="158782" y="202787"/>
                    <a:pt x="106585" y="202787"/>
                  </a:cubicBezTo>
                  <a:cubicBezTo>
                    <a:pt x="54388" y="202787"/>
                    <a:pt x="12097" y="160782"/>
                    <a:pt x="12097" y="109061"/>
                  </a:cubicBezTo>
                  <a:cubicBezTo>
                    <a:pt x="12097" y="57341"/>
                    <a:pt x="54388" y="15335"/>
                    <a:pt x="106585" y="15335"/>
                  </a:cubicBezTo>
                  <a:cubicBezTo>
                    <a:pt x="158782" y="15335"/>
                    <a:pt x="201073" y="57245"/>
                    <a:pt x="201073" y="109061"/>
                  </a:cubicBezTo>
                  <a:lnTo>
                    <a:pt x="201073" y="109061"/>
                  </a:lnTo>
                  <a:close/>
                </a:path>
              </a:pathLst>
            </a:custGeom>
            <a:solidFill>
              <a:srgbClr val="5A61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3486">
                <a:defRPr/>
              </a:pPr>
              <a:endParaRPr lang="en-US" sz="1798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endParaRPr>
            </a:p>
          </p:txBody>
        </p:sp>
      </p:grpSp>
      <p:grpSp>
        <p:nvGrpSpPr>
          <p:cNvPr id="1213" name="Gruppieren 1212">
            <a:extLst>
              <a:ext uri="{FF2B5EF4-FFF2-40B4-BE49-F238E27FC236}">
                <a16:creationId xmlns:a16="http://schemas.microsoft.com/office/drawing/2014/main" id="{6D5F9EBF-54DB-5F19-550D-EF0DA699A93E}"/>
              </a:ext>
            </a:extLst>
          </p:cNvPr>
          <p:cNvGrpSpPr/>
          <p:nvPr/>
        </p:nvGrpSpPr>
        <p:grpSpPr>
          <a:xfrm>
            <a:off x="4294503" y="2669329"/>
            <a:ext cx="425354" cy="198364"/>
            <a:chOff x="4294503" y="2337888"/>
            <a:chExt cx="425354" cy="198364"/>
          </a:xfrm>
        </p:grpSpPr>
        <p:sp>
          <p:nvSpPr>
            <p:cNvPr id="991" name="Rechteck 990">
              <a:extLst>
                <a:ext uri="{FF2B5EF4-FFF2-40B4-BE49-F238E27FC236}">
                  <a16:creationId xmlns:a16="http://schemas.microsoft.com/office/drawing/2014/main" id="{E7450750-928E-9C15-D0D5-2958012D6ED4}"/>
                </a:ext>
              </a:extLst>
            </p:cNvPr>
            <p:cNvSpPr/>
            <p:nvPr/>
          </p:nvSpPr>
          <p:spPr>
            <a:xfrm>
              <a:off x="4294503" y="2337888"/>
              <a:ext cx="425354" cy="1983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943" fontAlgn="base">
                <a:spcBef>
                  <a:spcPct val="50000"/>
                </a:spcBef>
                <a:spcAft>
                  <a:spcPct val="0"/>
                </a:spcAft>
              </a:pPr>
              <a:endParaRPr lang="en-US" sz="1799">
                <a:solidFill>
                  <a:srgbClr val="1B1534"/>
                </a:solidFill>
                <a:latin typeface="Arial"/>
              </a:endParaRPr>
            </a:p>
          </p:txBody>
        </p:sp>
        <p:cxnSp>
          <p:nvCxnSpPr>
            <p:cNvPr id="993" name="Gerader Verbinder 992">
              <a:extLst>
                <a:ext uri="{FF2B5EF4-FFF2-40B4-BE49-F238E27FC236}">
                  <a16:creationId xmlns:a16="http://schemas.microsoft.com/office/drawing/2014/main" id="{76BAD722-853F-2B8F-900E-476230B01D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13460" y="2390785"/>
              <a:ext cx="42295" cy="42295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  <p:cxnSp>
          <p:nvCxnSpPr>
            <p:cNvPr id="994" name="Gerader Verbinder 993">
              <a:extLst>
                <a:ext uri="{FF2B5EF4-FFF2-40B4-BE49-F238E27FC236}">
                  <a16:creationId xmlns:a16="http://schemas.microsoft.com/office/drawing/2014/main" id="{FBCC36D3-A6A7-20AB-8240-8BF6B14D40C5}"/>
                </a:ext>
              </a:extLst>
            </p:cNvPr>
            <p:cNvCxnSpPr/>
            <p:nvPr/>
          </p:nvCxnSpPr>
          <p:spPr>
            <a:xfrm>
              <a:off x="4513460" y="2433080"/>
              <a:ext cx="42295" cy="42295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  <p:cxnSp>
          <p:nvCxnSpPr>
            <p:cNvPr id="1210" name="Gerader Verbinder 1209">
              <a:extLst>
                <a:ext uri="{FF2B5EF4-FFF2-40B4-BE49-F238E27FC236}">
                  <a16:creationId xmlns:a16="http://schemas.microsoft.com/office/drawing/2014/main" id="{E27F57D3-82FD-260D-C569-69817293F39C}"/>
                </a:ext>
              </a:extLst>
            </p:cNvPr>
            <p:cNvCxnSpPr>
              <a:cxnSpLocks/>
            </p:cNvCxnSpPr>
            <p:nvPr/>
          </p:nvCxnSpPr>
          <p:spPr>
            <a:xfrm>
              <a:off x="4515360" y="2434001"/>
              <a:ext cx="53997" cy="0"/>
            </a:xfrm>
            <a:prstGeom prst="line">
              <a:avLst/>
            </a:prstGeom>
            <a:noFill/>
            <a:ln w="25400" cap="flat" cmpd="sng" algn="ctr">
              <a:solidFill>
                <a:srgbClr val="007373"/>
              </a:solidFill>
              <a:prstDash val="solid"/>
              <a:round/>
              <a:headEnd type="none" w="med" len="sm"/>
              <a:tailEnd type="none" w="med" len="med"/>
            </a:ln>
            <a:effectLst/>
          </p:spPr>
        </p:cxnSp>
      </p:grpSp>
      <p:sp>
        <p:nvSpPr>
          <p:cNvPr id="1017" name="Freihandform: Form 1016">
            <a:extLst>
              <a:ext uri="{FF2B5EF4-FFF2-40B4-BE49-F238E27FC236}">
                <a16:creationId xmlns:a16="http://schemas.microsoft.com/office/drawing/2014/main" id="{F2E6DC52-A209-50B4-D2E5-99D4F80109F9}"/>
              </a:ext>
            </a:extLst>
          </p:cNvPr>
          <p:cNvSpPr/>
          <p:nvPr/>
        </p:nvSpPr>
        <p:spPr>
          <a:xfrm>
            <a:off x="1914525" y="2522191"/>
            <a:ext cx="2614613" cy="733425"/>
          </a:xfrm>
          <a:custGeom>
            <a:avLst/>
            <a:gdLst>
              <a:gd name="connsiteX0" fmla="*/ 0 w 2614613"/>
              <a:gd name="connsiteY0" fmla="*/ 733425 h 733425"/>
              <a:gd name="connsiteX1" fmla="*/ 0 w 2614613"/>
              <a:gd name="connsiteY1" fmla="*/ 0 h 733425"/>
              <a:gd name="connsiteX2" fmla="*/ 2500313 w 2614613"/>
              <a:gd name="connsiteY2" fmla="*/ 0 h 733425"/>
              <a:gd name="connsiteX3" fmla="*/ 2500313 w 2614613"/>
              <a:gd name="connsiteY3" fmla="*/ 247650 h 733425"/>
              <a:gd name="connsiteX4" fmla="*/ 2614613 w 2614613"/>
              <a:gd name="connsiteY4" fmla="*/ 247650 h 733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613" h="733425">
                <a:moveTo>
                  <a:pt x="0" y="733425"/>
                </a:moveTo>
                <a:lnTo>
                  <a:pt x="0" y="0"/>
                </a:lnTo>
                <a:lnTo>
                  <a:pt x="2500313" y="0"/>
                </a:lnTo>
                <a:lnTo>
                  <a:pt x="2500313" y="247650"/>
                </a:lnTo>
                <a:lnTo>
                  <a:pt x="2614613" y="247650"/>
                </a:lnTo>
              </a:path>
            </a:pathLst>
          </a:custGeom>
          <a:noFill/>
          <a:ln w="25400" cap="flat" cmpd="sng" algn="ctr">
            <a:solidFill>
              <a:schemeClr val="accent4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3486"/>
            <a:endParaRPr lang="en-US" sz="3196" kern="0">
              <a:solidFill>
                <a:srgbClr val="000000"/>
              </a:solidFill>
              <a:latin typeface="Siemens Sans" pitchFamily="2" charset="0"/>
              <a:ea typeface="ＭＳ Ｐゴシック" charset="-128"/>
            </a:endParaRPr>
          </a:p>
        </p:txBody>
      </p: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129AA216-922C-749C-2EA3-406AE19B9024}"/>
              </a:ext>
            </a:extLst>
          </p:cNvPr>
          <p:cNvSpPr/>
          <p:nvPr/>
        </p:nvSpPr>
        <p:spPr>
          <a:xfrm>
            <a:off x="3703319" y="4519662"/>
            <a:ext cx="2093283" cy="81874"/>
          </a:xfrm>
          <a:custGeom>
            <a:avLst/>
            <a:gdLst>
              <a:gd name="connsiteX0" fmla="*/ 525780 w 525780"/>
              <a:gd name="connsiteY0" fmla="*/ 0 h 0"/>
              <a:gd name="connsiteX1" fmla="*/ 0 w 5257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25780">
                <a:moveTo>
                  <a:pt x="525780" y="0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8A73C580-31B1-22F8-A841-E56CCE57057F}"/>
              </a:ext>
            </a:extLst>
          </p:cNvPr>
          <p:cNvSpPr/>
          <p:nvPr/>
        </p:nvSpPr>
        <p:spPr>
          <a:xfrm>
            <a:off x="3865880" y="3761711"/>
            <a:ext cx="0" cy="769620"/>
          </a:xfrm>
          <a:custGeom>
            <a:avLst/>
            <a:gdLst>
              <a:gd name="connsiteX0" fmla="*/ 0 w 0"/>
              <a:gd name="connsiteY0" fmla="*/ 769620 h 769620"/>
              <a:gd name="connsiteX1" fmla="*/ 0 w 0"/>
              <a:gd name="connsiteY1" fmla="*/ 0 h 769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69620">
                <a:moveTo>
                  <a:pt x="0" y="769620"/>
                </a:moveTo>
                <a:lnTo>
                  <a:pt x="0" y="0"/>
                </a:lnTo>
              </a:path>
            </a:pathLst>
          </a:custGeom>
          <a:noFill/>
          <a:ln w="28575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feld 1171">
            <a:extLst>
              <a:ext uri="{FF2B5EF4-FFF2-40B4-BE49-F238E27FC236}">
                <a16:creationId xmlns:a16="http://schemas.microsoft.com/office/drawing/2014/main" id="{CC6187B3-F8DA-D634-A68D-B0657ABCC336}"/>
              </a:ext>
            </a:extLst>
          </p:cNvPr>
          <p:cNvSpPr txBox="1"/>
          <p:nvPr/>
        </p:nvSpPr>
        <p:spPr>
          <a:xfrm>
            <a:off x="7872204" y="3736732"/>
            <a:ext cx="4240993" cy="1567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Heat Pump Type SHP-STC-S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Refrigerant: R1233zd(E)</a:t>
            </a:r>
            <a:r>
              <a:rPr lang="en-US" sz="1100" b="1" dirty="0"/>
              <a:t> </a:t>
            </a:r>
            <a:endParaRPr lang="en-US" sz="1100" dirty="0"/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Estimated CAPEX: </a:t>
            </a:r>
            <a:r>
              <a:rPr lang="en-US" sz="1100" dirty="0">
                <a:highlight>
                  <a:srgbClr val="FFFF00"/>
                </a:highlight>
              </a:rPr>
              <a:t>xx</a:t>
            </a:r>
            <a:r>
              <a:rPr lang="en-US" sz="1100" dirty="0"/>
              <a:t> Mio € * (</a:t>
            </a:r>
            <a:r>
              <a:rPr lang="de-DE" sz="11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± </a:t>
            </a:r>
            <a:r>
              <a:rPr lang="en-US" sz="1100" dirty="0"/>
              <a:t>30% accuracy)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>
                <a:sym typeface="Wingdings" panose="05000000000000000000" pitchFamily="2" charset="2"/>
              </a:rPr>
              <a:t>Estimated service cost: </a:t>
            </a:r>
            <a:r>
              <a:rPr lang="en-US" sz="1100">
                <a:sym typeface="Wingdings" panose="05000000000000000000" pitchFamily="2" charset="2"/>
              </a:rPr>
              <a:t>~ </a:t>
            </a:r>
            <a:r>
              <a:rPr lang="en-US" sz="1100">
                <a:highlight>
                  <a:srgbClr val="FFFF00"/>
                </a:highlight>
                <a:sym typeface="Wingdings" panose="05000000000000000000" pitchFamily="2" charset="2"/>
              </a:rPr>
              <a:t>xx</a:t>
            </a:r>
            <a:r>
              <a:rPr lang="en-US" sz="1100">
                <a:sym typeface="Wingdings" panose="05000000000000000000" pitchFamily="2" charset="2"/>
              </a:rPr>
              <a:t> </a:t>
            </a:r>
            <a:r>
              <a:rPr lang="en-US" sz="1100" dirty="0">
                <a:sym typeface="Wingdings" panose="05000000000000000000" pitchFamily="2" charset="2"/>
              </a:rPr>
              <a:t>k€/a** </a:t>
            </a:r>
            <a:r>
              <a:rPr lang="en-US" sz="1100" dirty="0"/>
              <a:t>(</a:t>
            </a:r>
            <a:r>
              <a:rPr lang="de-DE" sz="110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±</a:t>
            </a:r>
            <a:r>
              <a:rPr lang="de-DE" sz="1100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100" dirty="0"/>
              <a:t>30% accuracy, LTSA)</a:t>
            </a:r>
            <a:endParaRPr lang="en-US" sz="1100" dirty="0">
              <a:sym typeface="Wingdings" panose="05000000000000000000" pitchFamily="2" charset="2"/>
            </a:endParaRP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/>
              <a:t>Estimated footprint:  Heat pump: approx. 30m x 20m </a:t>
            </a:r>
          </a:p>
          <a:p>
            <a:pPr marL="1371600" lvl="4" algn="just">
              <a:lnSpc>
                <a:spcPct val="110000"/>
              </a:lnSpc>
            </a:pPr>
            <a:r>
              <a:rPr lang="en-US" sz="1100" dirty="0"/>
              <a:t>+Steam compression: approx. 20m x 15m 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100" dirty="0">
                <a:sym typeface="Wingdings" panose="05000000000000000000" pitchFamily="2" charset="2"/>
              </a:rPr>
              <a:t>Estimated project duration: ~24 months</a:t>
            </a:r>
          </a:p>
          <a:p>
            <a:pPr marL="0" lvl="1" indent="180975" algn="just">
              <a:lnSpc>
                <a:spcPct val="110000"/>
              </a:lnSpc>
              <a:buFont typeface="Arial" panose="020B0604020202020204" pitchFamily="34" charset="0"/>
              <a:buChar char="›"/>
            </a:pPr>
            <a:endParaRPr lang="en-US" sz="1100" dirty="0">
              <a:sym typeface="Wingdings" panose="05000000000000000000" pitchFamily="2" charset="2"/>
            </a:endParaRPr>
          </a:p>
        </p:txBody>
      </p:sp>
      <p:sp>
        <p:nvSpPr>
          <p:cNvPr id="3" name="Textfeld 1172">
            <a:extLst>
              <a:ext uri="{FF2B5EF4-FFF2-40B4-BE49-F238E27FC236}">
                <a16:creationId xmlns:a16="http://schemas.microsoft.com/office/drawing/2014/main" id="{B73D03A8-0AC6-3DF8-EC33-AC724EE8438E}"/>
              </a:ext>
            </a:extLst>
          </p:cNvPr>
          <p:cNvSpPr txBox="1"/>
          <p:nvPr/>
        </p:nvSpPr>
        <p:spPr>
          <a:xfrm>
            <a:off x="6744363" y="3603806"/>
            <a:ext cx="5235156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Solution price &amp; characteristics</a:t>
            </a:r>
          </a:p>
        </p:txBody>
      </p:sp>
      <p:sp>
        <p:nvSpPr>
          <p:cNvPr id="4" name="Textfeld 14">
            <a:extLst>
              <a:ext uri="{FF2B5EF4-FFF2-40B4-BE49-F238E27FC236}">
                <a16:creationId xmlns:a16="http://schemas.microsoft.com/office/drawing/2014/main" id="{B0B663A4-69B6-8B75-2877-F8168221DFF8}"/>
              </a:ext>
            </a:extLst>
          </p:cNvPr>
          <p:cNvSpPr txBox="1"/>
          <p:nvPr/>
        </p:nvSpPr>
        <p:spPr>
          <a:xfrm>
            <a:off x="6744363" y="2214558"/>
            <a:ext cx="5235156" cy="7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100" spc="320"/>
              <a:t>Source and sink</a:t>
            </a:r>
          </a:p>
        </p:txBody>
      </p:sp>
      <p:pic>
        <p:nvPicPr>
          <p:cNvPr id="15" name="Grafik 38">
            <a:extLst>
              <a:ext uri="{FF2B5EF4-FFF2-40B4-BE49-F238E27FC236}">
                <a16:creationId xmlns:a16="http://schemas.microsoft.com/office/drawing/2014/main" id="{612A5839-BE7D-95E0-C1D5-72DE35D088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78717" y="3950888"/>
            <a:ext cx="758024" cy="493759"/>
          </a:xfrm>
          <a:prstGeom prst="rect">
            <a:avLst/>
          </a:prstGeom>
        </p:spPr>
      </p:pic>
      <p:pic>
        <p:nvPicPr>
          <p:cNvPr id="16" name="Grafik 3">
            <a:extLst>
              <a:ext uri="{FF2B5EF4-FFF2-40B4-BE49-F238E27FC236}">
                <a16:creationId xmlns:a16="http://schemas.microsoft.com/office/drawing/2014/main" id="{F10FFF22-92E5-0E3E-A888-29511524DB8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88201" y="2519527"/>
            <a:ext cx="365617" cy="271444"/>
          </a:xfrm>
          <a:prstGeom prst="rect">
            <a:avLst/>
          </a:prstGeom>
        </p:spPr>
      </p:pic>
      <p:pic>
        <p:nvPicPr>
          <p:cNvPr id="17" name="Grafik 40">
            <a:extLst>
              <a:ext uri="{FF2B5EF4-FFF2-40B4-BE49-F238E27FC236}">
                <a16:creationId xmlns:a16="http://schemas.microsoft.com/office/drawing/2014/main" id="{C7B8DE28-F041-5FCC-531F-94D1E80974D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74116" y="2551665"/>
            <a:ext cx="365617" cy="271601"/>
          </a:xfrm>
          <a:prstGeom prst="rect">
            <a:avLst/>
          </a:prstGeom>
        </p:spPr>
      </p:pic>
      <p:sp>
        <p:nvSpPr>
          <p:cNvPr id="938" name="TextBox 937">
            <a:extLst>
              <a:ext uri="{FF2B5EF4-FFF2-40B4-BE49-F238E27FC236}">
                <a16:creationId xmlns:a16="http://schemas.microsoft.com/office/drawing/2014/main" id="{50D98F51-CA5A-FEF2-2E58-7F2EC4173865}"/>
              </a:ext>
            </a:extLst>
          </p:cNvPr>
          <p:cNvSpPr txBox="1"/>
          <p:nvPr/>
        </p:nvSpPr>
        <p:spPr>
          <a:xfrm>
            <a:off x="5107356" y="2177893"/>
            <a:ext cx="1282158" cy="368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00" b="1" dirty="0"/>
              <a:t>steam</a:t>
            </a:r>
          </a:p>
          <a:p>
            <a:pPr algn="l"/>
            <a:r>
              <a:rPr lang="en-US" sz="1000" b="1" dirty="0" err="1"/>
              <a:t>t</a:t>
            </a:r>
            <a:r>
              <a:rPr lang="en-US" sz="1000" b="1" baseline="-25000" dirty="0" err="1"/>
              <a:t>sink</a:t>
            </a:r>
            <a:r>
              <a:rPr lang="en-US" sz="1000" b="1" baseline="-25000" dirty="0"/>
              <a:t>, out </a:t>
            </a:r>
            <a:r>
              <a:rPr lang="en-US" sz="1000" dirty="0"/>
              <a:t>= xx   °C</a:t>
            </a:r>
          </a:p>
        </p:txBody>
      </p:sp>
      <p:sp>
        <p:nvSpPr>
          <p:cNvPr id="937" name="Rechteck 1012">
            <a:extLst>
              <a:ext uri="{FF2B5EF4-FFF2-40B4-BE49-F238E27FC236}">
                <a16:creationId xmlns:a16="http://schemas.microsoft.com/office/drawing/2014/main" id="{110362F4-71A4-F49F-5C59-C38D9BB06CA7}"/>
              </a:ext>
            </a:extLst>
          </p:cNvPr>
          <p:cNvSpPr/>
          <p:nvPr/>
        </p:nvSpPr>
        <p:spPr>
          <a:xfrm>
            <a:off x="732696" y="2843127"/>
            <a:ext cx="1587276" cy="43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486">
              <a:defRPr/>
            </a:pPr>
            <a:r>
              <a:rPr lang="en-US" sz="1000" b="1" i="1" kern="0" dirty="0">
                <a:solidFill>
                  <a:srgbClr val="000000"/>
                </a:solidFill>
                <a:ea typeface="ＭＳ Ｐゴシック" charset="-128"/>
              </a:rPr>
              <a:t>feed water </a:t>
            </a:r>
          </a:p>
          <a:p>
            <a:pPr defTabSz="913486">
              <a:defRPr/>
            </a:pPr>
            <a:r>
              <a:rPr lang="en-US" sz="1098" b="1" kern="0" dirty="0" err="1">
                <a:solidFill>
                  <a:srgbClr val="000000"/>
                </a:solidFill>
                <a:ea typeface="ＭＳ Ｐゴシック" charset="-128"/>
              </a:rPr>
              <a:t>t</a:t>
            </a:r>
            <a:r>
              <a:rPr lang="en-US" sz="1098" b="1" kern="0" baseline="-25000" dirty="0" err="1">
                <a:solidFill>
                  <a:srgbClr val="000000"/>
                </a:solidFill>
                <a:ea typeface="ＭＳ Ｐゴシック" charset="-128"/>
              </a:rPr>
              <a:t>sink</a:t>
            </a:r>
            <a:r>
              <a:rPr lang="en-US" sz="1098" b="1" kern="0" baseline="-25000" dirty="0">
                <a:solidFill>
                  <a:srgbClr val="000000"/>
                </a:solidFill>
                <a:ea typeface="ＭＳ Ｐゴシック" charset="-128"/>
              </a:rPr>
              <a:t>, in</a:t>
            </a:r>
            <a:r>
              <a:rPr lang="en-US" sz="1098" kern="0" dirty="0">
                <a:solidFill>
                  <a:srgbClr val="000000"/>
                </a:solidFill>
                <a:ea typeface="ＭＳ Ｐゴシック" charset="-128"/>
              </a:rPr>
              <a:t>= xx</a:t>
            </a:r>
            <a:r>
              <a:rPr lang="en-US" sz="1100" dirty="0"/>
              <a:t> ˚C </a:t>
            </a:r>
            <a:endParaRPr lang="en-US" sz="1098" kern="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939" name="Textfeld 34">
            <a:extLst>
              <a:ext uri="{FF2B5EF4-FFF2-40B4-BE49-F238E27FC236}">
                <a16:creationId xmlns:a16="http://schemas.microsoft.com/office/drawing/2014/main" id="{830F7102-22DB-1486-5CFC-A0448DB104AA}"/>
              </a:ext>
            </a:extLst>
          </p:cNvPr>
          <p:cNvSpPr txBox="1"/>
          <p:nvPr/>
        </p:nvSpPr>
        <p:spPr>
          <a:xfrm>
            <a:off x="4949337" y="4124594"/>
            <a:ext cx="1659330" cy="294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sz="1100" b="1" dirty="0">
                <a:cs typeface="Biome" panose="020B0502040204020203" pitchFamily="34" charset="0"/>
              </a:rPr>
              <a:t>P</a:t>
            </a:r>
            <a:r>
              <a:rPr lang="en-US" sz="1100" b="1" baseline="-25000" dirty="0">
                <a:cs typeface="Biome" panose="020B0502040204020203" pitchFamily="34" charset="0"/>
              </a:rPr>
              <a:t>el, in</a:t>
            </a:r>
            <a:r>
              <a:rPr lang="en-US" sz="1098" kern="0" dirty="0">
                <a:solidFill>
                  <a:srgbClr val="000000"/>
                </a:solidFill>
                <a:ea typeface="ＭＳ Ｐゴシック" charset="-128"/>
              </a:rPr>
              <a:t> = xx</a:t>
            </a:r>
            <a:r>
              <a:rPr lang="en-US" sz="1100" dirty="0"/>
              <a:t> </a:t>
            </a:r>
            <a:r>
              <a:rPr lang="en-US" sz="1100" dirty="0" err="1"/>
              <a:t>Mw</a:t>
            </a:r>
            <a:r>
              <a:rPr lang="en-US" sz="1100" baseline="-25000" dirty="0" err="1"/>
              <a:t>el</a:t>
            </a:r>
            <a:r>
              <a:rPr lang="en-US" sz="1100" dirty="0"/>
              <a:t>(gross)</a:t>
            </a:r>
          </a:p>
        </p:txBody>
      </p:sp>
      <p:sp>
        <p:nvSpPr>
          <p:cNvPr id="32" name="Rechteck 1012">
            <a:extLst>
              <a:ext uri="{FF2B5EF4-FFF2-40B4-BE49-F238E27FC236}">
                <a16:creationId xmlns:a16="http://schemas.microsoft.com/office/drawing/2014/main" id="{CF011359-F138-A5D9-C5CC-22D81C112080}"/>
              </a:ext>
            </a:extLst>
          </p:cNvPr>
          <p:cNvSpPr/>
          <p:nvPr/>
        </p:nvSpPr>
        <p:spPr>
          <a:xfrm>
            <a:off x="799085" y="5139390"/>
            <a:ext cx="1587276" cy="43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water </a:t>
            </a:r>
          </a:p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8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t</a:t>
            </a:r>
            <a:r>
              <a:rPr kumimoji="0" lang="en-US" sz="1098" b="1" i="0" u="none" strike="noStrike" kern="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source, out</a:t>
            </a:r>
            <a:r>
              <a:rPr kumimoji="0" lang="en-US" sz="1098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+mn-cs"/>
              </a:rPr>
              <a:t> = xx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˚C </a:t>
            </a:r>
            <a:endParaRPr kumimoji="0" lang="en-US" sz="1098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+mn-cs"/>
            </a:endParaRPr>
          </a:p>
        </p:txBody>
      </p:sp>
      <p:sp>
        <p:nvSpPr>
          <p:cNvPr id="35" name="Textfeld 746">
            <a:extLst>
              <a:ext uri="{FF2B5EF4-FFF2-40B4-BE49-F238E27FC236}">
                <a16:creationId xmlns:a16="http://schemas.microsoft.com/office/drawing/2014/main" id="{C450B2F1-650B-13A9-CDCD-76863C79BB83}"/>
              </a:ext>
            </a:extLst>
          </p:cNvPr>
          <p:cNvSpPr txBox="1"/>
          <p:nvPr/>
        </p:nvSpPr>
        <p:spPr>
          <a:xfrm>
            <a:off x="760318" y="1496015"/>
            <a:ext cx="1736847" cy="22644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sz="1400" b="1" cap="all" spc="320" dirty="0"/>
              <a:t>CASE 1 </a:t>
            </a:r>
            <a:r>
              <a:rPr lang="en-US" sz="1400" cap="all" spc="320" dirty="0"/>
              <a:t>| xx</a:t>
            </a:r>
          </a:p>
          <a:p>
            <a:pPr marL="174538" indent="-174538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n-US" sz="1400" b="1" dirty="0">
              <a:solidFill>
                <a:srgbClr val="3C464B"/>
              </a:solidFill>
            </a:endParaRPr>
          </a:p>
        </p:txBody>
      </p:sp>
      <p:sp>
        <p:nvSpPr>
          <p:cNvPr id="36" name="Rechteck 964">
            <a:extLst>
              <a:ext uri="{FF2B5EF4-FFF2-40B4-BE49-F238E27FC236}">
                <a16:creationId xmlns:a16="http://schemas.microsoft.com/office/drawing/2014/main" id="{10786109-EEE7-79FE-7DFB-289B84981067}"/>
              </a:ext>
            </a:extLst>
          </p:cNvPr>
          <p:cNvSpPr/>
          <p:nvPr/>
        </p:nvSpPr>
        <p:spPr>
          <a:xfrm>
            <a:off x="1344570" y="3682749"/>
            <a:ext cx="1522904" cy="2612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486">
              <a:defRPr/>
            </a:pPr>
            <a:r>
              <a:rPr lang="en-US" sz="1098" b="1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rPr>
              <a:t>Heat Pump</a:t>
            </a:r>
          </a:p>
        </p:txBody>
      </p:sp>
      <p:sp>
        <p:nvSpPr>
          <p:cNvPr id="39" name="Rechteck 12">
            <a:extLst>
              <a:ext uri="{FF2B5EF4-FFF2-40B4-BE49-F238E27FC236}">
                <a16:creationId xmlns:a16="http://schemas.microsoft.com/office/drawing/2014/main" id="{287CFDAF-E0D7-3898-7392-91C0E87AF9F0}"/>
              </a:ext>
            </a:extLst>
          </p:cNvPr>
          <p:cNvSpPr/>
          <p:nvPr/>
        </p:nvSpPr>
        <p:spPr>
          <a:xfrm>
            <a:off x="3485641" y="3302902"/>
            <a:ext cx="1522904" cy="26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486">
              <a:defRPr/>
            </a:pPr>
            <a:r>
              <a:rPr lang="en-US" sz="1098" b="1" kern="0">
                <a:solidFill>
                  <a:srgbClr val="000000"/>
                </a:solidFill>
                <a:latin typeface="Siemens Sans" pitchFamily="2" charset="0"/>
                <a:ea typeface="ＭＳ Ｐゴシック" charset="-128"/>
              </a:rPr>
              <a:t>MV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17C992C-37A4-12C8-231E-9DA01C5061CC}"/>
              </a:ext>
            </a:extLst>
          </p:cNvPr>
          <p:cNvSpPr txBox="1"/>
          <p:nvPr/>
        </p:nvSpPr>
        <p:spPr>
          <a:xfrm>
            <a:off x="5018867" y="5156533"/>
            <a:ext cx="1282158" cy="400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50" b="1" dirty="0"/>
              <a:t>water</a:t>
            </a:r>
          </a:p>
          <a:p>
            <a:pPr algn="l"/>
            <a:r>
              <a:rPr lang="en-US" sz="1050" b="1" dirty="0"/>
              <a:t>t</a:t>
            </a:r>
            <a:r>
              <a:rPr lang="en-US" sz="1050" b="1" baseline="-25000" dirty="0"/>
              <a:t>source, in</a:t>
            </a:r>
            <a:r>
              <a:rPr lang="en-US" sz="1050" b="1" dirty="0"/>
              <a:t> </a:t>
            </a:r>
            <a:r>
              <a:rPr lang="en-US" sz="1050" dirty="0"/>
              <a:t>= xx °C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7CB8A88-313F-69E7-D826-6FB9878702A9}"/>
              </a:ext>
            </a:extLst>
          </p:cNvPr>
          <p:cNvSpPr txBox="1"/>
          <p:nvPr/>
        </p:nvSpPr>
        <p:spPr>
          <a:xfrm>
            <a:off x="2862591" y="5242775"/>
            <a:ext cx="1393378" cy="2578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00" b="1" dirty="0"/>
              <a:t>Q</a:t>
            </a:r>
            <a:r>
              <a:rPr lang="en-US" sz="1000" b="1" baseline="-25000" dirty="0"/>
              <a:t>source</a:t>
            </a:r>
            <a:r>
              <a:rPr lang="en-US" sz="1000" dirty="0"/>
              <a:t> </a:t>
            </a:r>
            <a:r>
              <a:rPr lang="en-US" sz="1000"/>
              <a:t>= xx </a:t>
            </a:r>
            <a:r>
              <a:rPr lang="en-US" sz="1000" dirty="0" err="1"/>
              <a:t>MW</a:t>
            </a:r>
            <a:r>
              <a:rPr lang="en-US" sz="1000" baseline="-25000" dirty="0" err="1"/>
              <a:t>th</a:t>
            </a:r>
            <a:endParaRPr lang="en-US" sz="1000" baseline="-25000" dirty="0"/>
          </a:p>
        </p:txBody>
      </p:sp>
      <p:sp>
        <p:nvSpPr>
          <p:cNvPr id="33" name="Textfeld 39">
            <a:extLst>
              <a:ext uri="{FF2B5EF4-FFF2-40B4-BE49-F238E27FC236}">
                <a16:creationId xmlns:a16="http://schemas.microsoft.com/office/drawing/2014/main" id="{DB219C0F-A168-737F-7CF2-4A6ED0CC46E9}"/>
              </a:ext>
            </a:extLst>
          </p:cNvPr>
          <p:cNvSpPr txBox="1"/>
          <p:nvPr/>
        </p:nvSpPr>
        <p:spPr>
          <a:xfrm>
            <a:off x="601662" y="5976853"/>
            <a:ext cx="3689131" cy="2830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000" b="1" dirty="0"/>
              <a:t>REMARK</a:t>
            </a:r>
            <a:r>
              <a:rPr lang="en-US" sz="1000" dirty="0"/>
              <a:t>: all numbers and information on this page are preliminary, indicative and non-binding</a:t>
            </a:r>
          </a:p>
          <a:p>
            <a:r>
              <a:rPr lang="en-US" sz="1000" dirty="0"/>
              <a:t>*standard heat pump installation based on terminal points and scope description on following pages</a:t>
            </a:r>
          </a:p>
          <a:p>
            <a:r>
              <a:rPr lang="en-US" sz="1000" dirty="0"/>
              <a:t>**standard 10 years LTSA (Long Term Service Agreement), further described on following pages </a:t>
            </a:r>
          </a:p>
        </p:txBody>
      </p:sp>
      <p:sp>
        <p:nvSpPr>
          <p:cNvPr id="13" name="Textfeld 15">
            <a:extLst>
              <a:ext uri="{FF2B5EF4-FFF2-40B4-BE49-F238E27FC236}">
                <a16:creationId xmlns:a16="http://schemas.microsoft.com/office/drawing/2014/main" id="{9E869513-9549-F21C-0996-0CBA760BF8D2}"/>
              </a:ext>
            </a:extLst>
          </p:cNvPr>
          <p:cNvSpPr txBox="1"/>
          <p:nvPr/>
        </p:nvSpPr>
        <p:spPr>
          <a:xfrm>
            <a:off x="7087684" y="2830857"/>
            <a:ext cx="2199340" cy="248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lvl="1" indent="-180975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000" dirty="0"/>
              <a:t>xx </a:t>
            </a:r>
            <a:endParaRPr lang="en-US" sz="1000" dirty="0">
              <a:sym typeface="Wingdings" panose="05000000000000000000" pitchFamily="2" charset="2"/>
            </a:endParaRPr>
          </a:p>
        </p:txBody>
      </p:sp>
      <p:sp>
        <p:nvSpPr>
          <p:cNvPr id="936" name="Textfeld 41">
            <a:extLst>
              <a:ext uri="{FF2B5EF4-FFF2-40B4-BE49-F238E27FC236}">
                <a16:creationId xmlns:a16="http://schemas.microsoft.com/office/drawing/2014/main" id="{7B3EB7C7-4892-637F-C7B8-16CDA01BF5A0}"/>
              </a:ext>
            </a:extLst>
          </p:cNvPr>
          <p:cNvSpPr txBox="1"/>
          <p:nvPr/>
        </p:nvSpPr>
        <p:spPr>
          <a:xfrm>
            <a:off x="9567359" y="2830857"/>
            <a:ext cx="2199340" cy="248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lvl="1" indent="-180975">
              <a:lnSpc>
                <a:spcPct val="110000"/>
              </a:lnSpc>
              <a:buFont typeface="Arial" panose="020B0604020202020204" pitchFamily="34" charset="0"/>
              <a:buChar char="›"/>
            </a:pPr>
            <a:r>
              <a:rPr lang="en-US" sz="1000" dirty="0"/>
              <a:t>xx </a:t>
            </a:r>
            <a:endParaRPr lang="en-US" sz="1000" dirty="0">
              <a:sym typeface="Wingdings" panose="05000000000000000000" pitchFamily="2" charset="2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1E24EF-3571-33BD-F774-82C6D64AD16A}"/>
              </a:ext>
            </a:extLst>
          </p:cNvPr>
          <p:cNvSpPr txBox="1"/>
          <p:nvPr/>
        </p:nvSpPr>
        <p:spPr>
          <a:xfrm>
            <a:off x="5020126" y="2491371"/>
            <a:ext cx="16027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000" b="1" dirty="0" err="1"/>
              <a:t>P</a:t>
            </a:r>
            <a:r>
              <a:rPr lang="en-US" sz="1000" b="1" baseline="-25000" dirty="0" err="1"/>
              <a:t>sink</a:t>
            </a:r>
            <a:r>
              <a:rPr lang="en-US" sz="1000" b="1" baseline="-25000" dirty="0"/>
              <a:t>, out</a:t>
            </a:r>
            <a:r>
              <a:rPr lang="en-US" sz="1000" dirty="0"/>
              <a:t> </a:t>
            </a:r>
            <a:r>
              <a:rPr lang="en-US" sz="1000"/>
              <a:t>= xx   </a:t>
            </a:r>
            <a:r>
              <a:rPr lang="en-US" sz="1000" dirty="0"/>
              <a:t>bar</a:t>
            </a:r>
            <a:r>
              <a:rPr lang="en-US" sz="1000" baseline="-25000" dirty="0"/>
              <a:t>a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24297BD-0736-F994-48C6-290FA7B10430}"/>
              </a:ext>
            </a:extLst>
          </p:cNvPr>
          <p:cNvSpPr txBox="1"/>
          <p:nvPr/>
        </p:nvSpPr>
        <p:spPr>
          <a:xfrm>
            <a:off x="5034384" y="2737592"/>
            <a:ext cx="144327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000" b="1" dirty="0" err="1"/>
              <a:t>Q</a:t>
            </a:r>
            <a:r>
              <a:rPr lang="en-US" sz="1000" b="1" baseline="-25000" dirty="0" err="1"/>
              <a:t>sink</a:t>
            </a:r>
            <a:r>
              <a:rPr lang="en-US" sz="1000" dirty="0"/>
              <a:t> = xx     </a:t>
            </a:r>
            <a:r>
              <a:rPr lang="en-US" sz="1000" dirty="0" err="1"/>
              <a:t>MW</a:t>
            </a:r>
            <a:r>
              <a:rPr lang="en-US" sz="1000" baseline="-25000" dirty="0" err="1"/>
              <a:t>th</a:t>
            </a:r>
            <a:endParaRPr lang="en-US" sz="1000" baseline="-25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313C25A-8F14-7248-E078-EEBA6B0B7063}"/>
              </a:ext>
            </a:extLst>
          </p:cNvPr>
          <p:cNvSpPr txBox="1"/>
          <p:nvPr/>
        </p:nvSpPr>
        <p:spPr>
          <a:xfrm>
            <a:off x="5038605" y="2926814"/>
            <a:ext cx="167929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000" b="1" dirty="0" err="1"/>
              <a:t>m</a:t>
            </a:r>
            <a:r>
              <a:rPr lang="en-US" sz="1000" b="1" baseline="-25000" dirty="0" err="1"/>
              <a:t>sink</a:t>
            </a:r>
            <a:r>
              <a:rPr lang="en-US" sz="1000" dirty="0"/>
              <a:t> = xx     t/h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9D3367C-4452-7BD6-B702-3E2BBDB9E3FB}"/>
              </a:ext>
            </a:extLst>
          </p:cNvPr>
          <p:cNvSpPr txBox="1"/>
          <p:nvPr/>
        </p:nvSpPr>
        <p:spPr>
          <a:xfrm>
            <a:off x="4925706" y="5569636"/>
            <a:ext cx="174179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000" b="1" dirty="0" err="1"/>
              <a:t>m</a:t>
            </a:r>
            <a:r>
              <a:rPr lang="en-US" sz="1000" b="1" baseline="-25000" dirty="0" err="1"/>
              <a:t>source</a:t>
            </a:r>
            <a:r>
              <a:rPr lang="en-US" sz="1000" dirty="0"/>
              <a:t> = xx t/h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1FFC741-CEAB-C7D0-AEE3-5B9BECA9F106}"/>
              </a:ext>
            </a:extLst>
          </p:cNvPr>
          <p:cNvSpPr txBox="1"/>
          <p:nvPr/>
        </p:nvSpPr>
        <p:spPr>
          <a:xfrm>
            <a:off x="4861105" y="4250622"/>
            <a:ext cx="1856792" cy="264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</a:pPr>
            <a:r>
              <a:rPr lang="en-US" sz="1100" b="1" dirty="0"/>
              <a:t>System COP: xx (gross) </a:t>
            </a:r>
            <a:endParaRPr lang="en-US" sz="1100" b="1" dirty="0">
              <a:solidFill>
                <a:srgbClr val="3C464B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88F1461-E336-B888-15D2-D3388C8181E7}"/>
              </a:ext>
            </a:extLst>
          </p:cNvPr>
          <p:cNvSpPr txBox="1"/>
          <p:nvPr/>
        </p:nvSpPr>
        <p:spPr>
          <a:xfrm>
            <a:off x="2363138" y="1460954"/>
            <a:ext cx="29664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cap="all" spc="320" dirty="0">
                <a:latin typeface="Arial" panose="020B0604020202020204" pitchFamily="34" charset="0"/>
                <a:cs typeface="Arial" panose="020B0604020202020204" pitchFamily="34" charset="0"/>
              </a:rPr>
              <a:t>►</a:t>
            </a:r>
            <a:r>
              <a:rPr lang="en-US" sz="1400" cap="all" spc="320" dirty="0"/>
              <a:t> xx bar stea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271016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4lKBHKazAbjvbLSiDr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C6EWwTOVmQqKvslqP_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_kP4.sT99uKrggNYn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lTA6e9Uopf3vQOCoDs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rgbClr val="5A616B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227</Words>
  <Application>Microsoft Office PowerPoint</Application>
  <PresentationFormat>Widescreen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Siemens Sans</vt:lpstr>
      <vt:lpstr>Times New Roman</vt:lpstr>
      <vt:lpstr>Office Theme</vt:lpstr>
      <vt:lpstr>Siemens Energy</vt:lpstr>
      <vt:lpstr>think-cell Folie</vt:lpstr>
      <vt:lpstr>*Customer* – Heat Pump + MVR use case Performance and price indic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*Customer* – Heat Pump use case Performance and price indication</dc:title>
  <dc:creator>Awais Salman</dc:creator>
  <cp:lastModifiedBy>Awais Salman</cp:lastModifiedBy>
  <cp:revision>1</cp:revision>
  <dcterms:created xsi:type="dcterms:W3CDTF">2023-11-12T17:59:09Z</dcterms:created>
  <dcterms:modified xsi:type="dcterms:W3CDTF">2023-11-20T23:42:25Z</dcterms:modified>
</cp:coreProperties>
</file>